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76" r:id="rId4"/>
    <p:sldMasterId id="2147483694" r:id="rId5"/>
    <p:sldMasterId id="2147483700" r:id="rId6"/>
    <p:sldMasterId id="2147483722" r:id="rId7"/>
    <p:sldMasterId id="2147483736" r:id="rId8"/>
  </p:sldMasterIdLst>
  <p:notesMasterIdLst>
    <p:notesMasterId r:id="rId22"/>
  </p:notesMasterIdLst>
  <p:sldIdLst>
    <p:sldId id="275" r:id="rId9"/>
    <p:sldId id="2147480515" r:id="rId10"/>
    <p:sldId id="2147480572" r:id="rId11"/>
    <p:sldId id="2147480589" r:id="rId12"/>
    <p:sldId id="2147480580" r:id="rId13"/>
    <p:sldId id="2147480582" r:id="rId14"/>
    <p:sldId id="2147480579" r:id="rId15"/>
    <p:sldId id="2147480581" r:id="rId16"/>
    <p:sldId id="2147480584" r:id="rId17"/>
    <p:sldId id="2147480586" r:id="rId18"/>
    <p:sldId id="2147480587" r:id="rId19"/>
    <p:sldId id="2147480588" r:id="rId20"/>
    <p:sldId id="272" r:id="rId21"/>
  </p:sldIdLst>
  <p:sldSz cx="12192000" cy="6858000"/>
  <p:notesSz cx="12192000" cy="6858000"/>
  <p:embeddedFontLst>
    <p:embeddedFont>
      <p:font typeface="Akrobat ExtraBold" panose="00000900000000000000" pitchFamily="50" charset="-52"/>
      <p:bold r:id="rId23"/>
    </p:embeddedFont>
  </p:embeddedFont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E159"/>
    <a:srgbClr val="080808"/>
    <a:srgbClr val="5C79B8"/>
    <a:srgbClr val="00412C"/>
    <a:srgbClr val="0E4D2C"/>
    <a:srgbClr val="8BAE3E"/>
    <a:srgbClr val="E27121"/>
    <a:srgbClr val="8F5A28"/>
    <a:srgbClr val="666667"/>
    <a:srgbClr val="0F4D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FF5A69F-8954-4CA3-9DF5-6535F5D2BE3B}" v="55" dt="2025-04-03T04:40:47.467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12C8C85-51F0-491E-9774-3900AFEF0FD7}" styleName="Светлый стиль 2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344D84-9AFB-497E-A393-DC336BA19D2E}" styleName="Средний стиль 3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8FD4443E-F989-4FC4-A0C8-D5A2AF1F390B}" styleName="Темный стиль 1 — акцент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10A1B5D5-9B99-4C35-A422-299274C87663}" styleName="Средний стиль 1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734" autoAdjust="0"/>
    <p:restoredTop sz="94484" autoAdjust="0"/>
  </p:normalViewPr>
  <p:slideViewPr>
    <p:cSldViewPr>
      <p:cViewPr varScale="1">
        <p:scale>
          <a:sx n="104" d="100"/>
          <a:sy n="104" d="100"/>
        </p:scale>
        <p:origin x="888" y="114"/>
      </p:cViewPr>
      <p:guideLst>
        <p:guide orient="horz" pos="2880"/>
        <p:guide pos="216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font" Target="fonts/font1.fntdata"/><Relationship Id="rId28" Type="http://schemas.microsoft.com/office/2016/11/relationships/changesInfo" Target="changesInfos/changesInfo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ukyanov Vadim RUNO" userId="493ad004-f191-4eab-a86b-fad87d77990f" providerId="ADAL" clId="{2FF5A69F-8954-4CA3-9DF5-6535F5D2BE3B}"/>
    <pc:docChg chg="undo custSel addSld delSld modSld sldOrd delMainMaster">
      <pc:chgData name="Lukyanov Vadim RUNO" userId="493ad004-f191-4eab-a86b-fad87d77990f" providerId="ADAL" clId="{2FF5A69F-8954-4CA3-9DF5-6535F5D2BE3B}" dt="2025-04-03T04:44:27.637" v="1210" actId="1076"/>
      <pc:docMkLst>
        <pc:docMk/>
      </pc:docMkLst>
      <pc:sldChg chg="del">
        <pc:chgData name="Lukyanov Vadim RUNO" userId="493ad004-f191-4eab-a86b-fad87d77990f" providerId="ADAL" clId="{2FF5A69F-8954-4CA3-9DF5-6535F5D2BE3B}" dt="2025-03-25T07:44:49.574" v="142" actId="47"/>
        <pc:sldMkLst>
          <pc:docMk/>
          <pc:sldMk cId="0" sldId="256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0" sldId="257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0" sldId="258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0" sldId="259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0" sldId="260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0" sldId="261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0" sldId="262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0" sldId="263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0" sldId="265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0" sldId="266"/>
        </pc:sldMkLst>
      </pc:sldChg>
      <pc:sldChg chg="del">
        <pc:chgData name="Lukyanov Vadim RUNO" userId="493ad004-f191-4eab-a86b-fad87d77990f" providerId="ADAL" clId="{2FF5A69F-8954-4CA3-9DF5-6535F5D2BE3B}" dt="2025-03-25T07:33:45.692" v="16" actId="47"/>
        <pc:sldMkLst>
          <pc:docMk/>
          <pc:sldMk cId="0" sldId="267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0" sldId="269"/>
        </pc:sldMkLst>
      </pc:sldChg>
      <pc:sldChg chg="modSp add del mod">
        <pc:chgData name="Lukyanov Vadim RUNO" userId="493ad004-f191-4eab-a86b-fad87d77990f" providerId="ADAL" clId="{2FF5A69F-8954-4CA3-9DF5-6535F5D2BE3B}" dt="2025-03-25T07:45:43.422" v="174" actId="47"/>
        <pc:sldMkLst>
          <pc:docMk/>
          <pc:sldMk cId="0" sldId="270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0" sldId="271"/>
        </pc:sldMkLst>
      </pc:sldChg>
      <pc:sldChg chg="addSp delSp modSp mod">
        <pc:chgData name="Lukyanov Vadim RUNO" userId="493ad004-f191-4eab-a86b-fad87d77990f" providerId="ADAL" clId="{2FF5A69F-8954-4CA3-9DF5-6535F5D2BE3B}" dt="2025-04-03T04:44:27.637" v="1210" actId="1076"/>
        <pc:sldMkLst>
          <pc:docMk/>
          <pc:sldMk cId="0" sldId="272"/>
        </pc:sldMkLst>
        <pc:spChg chg="mod">
          <ac:chgData name="Lukyanov Vadim RUNO" userId="493ad004-f191-4eab-a86b-fad87d77990f" providerId="ADAL" clId="{2FF5A69F-8954-4CA3-9DF5-6535F5D2BE3B}" dt="2025-04-03T03:59:43.834" v="994" actId="1076"/>
          <ac:spMkLst>
            <pc:docMk/>
            <pc:sldMk cId="0" sldId="272"/>
            <ac:spMk id="15" creationId="{00000000-0000-0000-0000-000000000000}"/>
          </ac:spMkLst>
        </pc:spChg>
        <pc:spChg chg="add mod">
          <ac:chgData name="Lukyanov Vadim RUNO" userId="493ad004-f191-4eab-a86b-fad87d77990f" providerId="ADAL" clId="{2FF5A69F-8954-4CA3-9DF5-6535F5D2BE3B}" dt="2025-04-03T04:44:06.291" v="1207" actId="552"/>
          <ac:spMkLst>
            <pc:docMk/>
            <pc:sldMk cId="0" sldId="272"/>
            <ac:spMk id="29" creationId="{2CA29402-1949-3591-7C1E-30B7697C840A}"/>
          </ac:spMkLst>
        </pc:spChg>
        <pc:spChg chg="add mod">
          <ac:chgData name="Lukyanov Vadim RUNO" userId="493ad004-f191-4eab-a86b-fad87d77990f" providerId="ADAL" clId="{2FF5A69F-8954-4CA3-9DF5-6535F5D2BE3B}" dt="2025-04-03T04:44:13.571" v="1208" actId="552"/>
          <ac:spMkLst>
            <pc:docMk/>
            <pc:sldMk cId="0" sldId="272"/>
            <ac:spMk id="33" creationId="{0EA7DABD-9792-2DC0-7F6A-096F7E0EC4F8}"/>
          </ac:spMkLst>
        </pc:spChg>
        <pc:spChg chg="add mod">
          <ac:chgData name="Lukyanov Vadim RUNO" userId="493ad004-f191-4eab-a86b-fad87d77990f" providerId="ADAL" clId="{2FF5A69F-8954-4CA3-9DF5-6535F5D2BE3B}" dt="2025-04-03T04:44:13.571" v="1208" actId="552"/>
          <ac:spMkLst>
            <pc:docMk/>
            <pc:sldMk cId="0" sldId="272"/>
            <ac:spMk id="34" creationId="{DC076880-1870-E625-B1C6-6BF937D2B75A}"/>
          </ac:spMkLst>
        </pc:spChg>
        <pc:spChg chg="add mod">
          <ac:chgData name="Lukyanov Vadim RUNO" userId="493ad004-f191-4eab-a86b-fad87d77990f" providerId="ADAL" clId="{2FF5A69F-8954-4CA3-9DF5-6535F5D2BE3B}" dt="2025-04-03T04:44:06.291" v="1207" actId="552"/>
          <ac:spMkLst>
            <pc:docMk/>
            <pc:sldMk cId="0" sldId="272"/>
            <ac:spMk id="35" creationId="{E79EADCC-B50B-FE15-DF97-93ACAC055058}"/>
          </ac:spMkLst>
        </pc:spChg>
        <pc:grpChg chg="mod">
          <ac:chgData name="Lukyanov Vadim RUNO" userId="493ad004-f191-4eab-a86b-fad87d77990f" providerId="ADAL" clId="{2FF5A69F-8954-4CA3-9DF5-6535F5D2BE3B}" dt="2025-04-03T04:14:18.117" v="1006" actId="1076"/>
          <ac:grpSpMkLst>
            <pc:docMk/>
            <pc:sldMk cId="0" sldId="272"/>
            <ac:grpSpMk id="2" creationId="{00000000-0000-0000-0000-000000000000}"/>
          </ac:grpSpMkLst>
        </pc:grpChg>
        <pc:picChg chg="mod">
          <ac:chgData name="Lukyanov Vadim RUNO" userId="493ad004-f191-4eab-a86b-fad87d77990f" providerId="ADAL" clId="{2FF5A69F-8954-4CA3-9DF5-6535F5D2BE3B}" dt="2025-04-03T04:14:38.224" v="1009" actId="1076"/>
          <ac:picMkLst>
            <pc:docMk/>
            <pc:sldMk cId="0" sldId="272"/>
            <ac:picMk id="3" creationId="{00000000-0000-0000-0000-000000000000}"/>
          </ac:picMkLst>
        </pc:picChg>
        <pc:picChg chg="mod">
          <ac:chgData name="Lukyanov Vadim RUNO" userId="493ad004-f191-4eab-a86b-fad87d77990f" providerId="ADAL" clId="{2FF5A69F-8954-4CA3-9DF5-6535F5D2BE3B}" dt="2025-04-03T04:14:29.453" v="1008" actId="12788"/>
          <ac:picMkLst>
            <pc:docMk/>
            <pc:sldMk cId="0" sldId="272"/>
            <ac:picMk id="4" creationId="{00000000-0000-0000-0000-000000000000}"/>
          </ac:picMkLst>
        </pc:picChg>
        <pc:picChg chg="add del mod">
          <ac:chgData name="Lukyanov Vadim RUNO" userId="493ad004-f191-4eab-a86b-fad87d77990f" providerId="ADAL" clId="{2FF5A69F-8954-4CA3-9DF5-6535F5D2BE3B}" dt="2025-04-03T04:31:47.889" v="1054" actId="21"/>
          <ac:picMkLst>
            <pc:docMk/>
            <pc:sldMk cId="0" sldId="272"/>
            <ac:picMk id="31" creationId="{5B8C1A8A-3DBF-8BDC-F77F-A9774F72EFC3}"/>
          </ac:picMkLst>
        </pc:picChg>
        <pc:picChg chg="add mod">
          <ac:chgData name="Lukyanov Vadim RUNO" userId="493ad004-f191-4eab-a86b-fad87d77990f" providerId="ADAL" clId="{2FF5A69F-8954-4CA3-9DF5-6535F5D2BE3B}" dt="2025-04-03T04:43:48.315" v="1205" actId="1076"/>
          <ac:picMkLst>
            <pc:docMk/>
            <pc:sldMk cId="0" sldId="272"/>
            <ac:picMk id="32" creationId="{5B8C1A8A-3DBF-8BDC-F77F-A9774F72EFC3}"/>
          </ac:picMkLst>
        </pc:picChg>
        <pc:picChg chg="add del mod">
          <ac:chgData name="Lukyanov Vadim RUNO" userId="493ad004-f191-4eab-a86b-fad87d77990f" providerId="ADAL" clId="{2FF5A69F-8954-4CA3-9DF5-6535F5D2BE3B}" dt="2025-04-03T04:40:21.104" v="1186" actId="478"/>
          <ac:picMkLst>
            <pc:docMk/>
            <pc:sldMk cId="0" sldId="272"/>
            <ac:picMk id="36" creationId="{4133F683-56D8-C9B8-0BBB-185EEA366499}"/>
          </ac:picMkLst>
        </pc:picChg>
        <pc:picChg chg="add mod">
          <ac:chgData name="Lukyanov Vadim RUNO" userId="493ad004-f191-4eab-a86b-fad87d77990f" providerId="ADAL" clId="{2FF5A69F-8954-4CA3-9DF5-6535F5D2BE3B}" dt="2025-04-03T04:43:42.091" v="1204" actId="1076"/>
          <ac:picMkLst>
            <pc:docMk/>
            <pc:sldMk cId="0" sldId="272"/>
            <ac:picMk id="37" creationId="{815ADDF9-1EFB-81C2-EC70-D30404BAAFE5}"/>
          </ac:picMkLst>
        </pc:picChg>
        <pc:picChg chg="add mod">
          <ac:chgData name="Lukyanov Vadim RUNO" userId="493ad004-f191-4eab-a86b-fad87d77990f" providerId="ADAL" clId="{2FF5A69F-8954-4CA3-9DF5-6535F5D2BE3B}" dt="2025-04-03T04:44:20.643" v="1209" actId="1076"/>
          <ac:picMkLst>
            <pc:docMk/>
            <pc:sldMk cId="0" sldId="272"/>
            <ac:picMk id="38" creationId="{9FADABCB-14D1-36B7-B506-B425B78EA3B8}"/>
          </ac:picMkLst>
        </pc:picChg>
        <pc:picChg chg="add mod">
          <ac:chgData name="Lukyanov Vadim RUNO" userId="493ad004-f191-4eab-a86b-fad87d77990f" providerId="ADAL" clId="{2FF5A69F-8954-4CA3-9DF5-6535F5D2BE3B}" dt="2025-04-03T04:44:27.637" v="1210" actId="1076"/>
          <ac:picMkLst>
            <pc:docMk/>
            <pc:sldMk cId="0" sldId="272"/>
            <ac:picMk id="39" creationId="{351110FE-A60C-7C42-6C63-D9A2164432C2}"/>
          </ac:picMkLst>
        </pc:picChg>
      </pc:sldChg>
      <pc:sldChg chg="del">
        <pc:chgData name="Lukyanov Vadim RUNO" userId="493ad004-f191-4eab-a86b-fad87d77990f" providerId="ADAL" clId="{2FF5A69F-8954-4CA3-9DF5-6535F5D2BE3B}" dt="2025-03-25T07:44:50.330" v="143" actId="47"/>
        <pc:sldMkLst>
          <pc:docMk/>
          <pc:sldMk cId="0" sldId="273"/>
        </pc:sldMkLst>
      </pc:sldChg>
      <pc:sldChg chg="del">
        <pc:chgData name="Lukyanov Vadim RUNO" userId="493ad004-f191-4eab-a86b-fad87d77990f" providerId="ADAL" clId="{2FF5A69F-8954-4CA3-9DF5-6535F5D2BE3B}" dt="2025-03-25T07:32:57.756" v="1" actId="2696"/>
        <pc:sldMkLst>
          <pc:docMk/>
          <pc:sldMk cId="3216694783" sldId="276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0" sldId="278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0" sldId="279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0" sldId="280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0" sldId="282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0" sldId="283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0" sldId="284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0" sldId="286"/>
        </pc:sldMkLst>
      </pc:sldChg>
      <pc:sldChg chg="del">
        <pc:chgData name="Lukyanov Vadim RUNO" userId="493ad004-f191-4eab-a86b-fad87d77990f" providerId="ADAL" clId="{2FF5A69F-8954-4CA3-9DF5-6535F5D2BE3B}" dt="2025-03-25T07:45:11.329" v="164" actId="47"/>
        <pc:sldMkLst>
          <pc:docMk/>
          <pc:sldMk cId="588501545" sldId="401"/>
        </pc:sldMkLst>
      </pc:sldChg>
      <pc:sldChg chg="del">
        <pc:chgData name="Lukyanov Vadim RUNO" userId="493ad004-f191-4eab-a86b-fad87d77990f" providerId="ADAL" clId="{2FF5A69F-8954-4CA3-9DF5-6535F5D2BE3B}" dt="2025-03-25T07:45:10.669" v="163" actId="47"/>
        <pc:sldMkLst>
          <pc:docMk/>
          <pc:sldMk cId="2244544327" sldId="402"/>
        </pc:sldMkLst>
      </pc:sldChg>
      <pc:sldChg chg="del">
        <pc:chgData name="Lukyanov Vadim RUNO" userId="493ad004-f191-4eab-a86b-fad87d77990f" providerId="ADAL" clId="{2FF5A69F-8954-4CA3-9DF5-6535F5D2BE3B}" dt="2025-03-25T07:44:15.432" v="118" actId="47"/>
        <pc:sldMkLst>
          <pc:docMk/>
          <pc:sldMk cId="363796002" sldId="469"/>
        </pc:sldMkLst>
      </pc:sldChg>
      <pc:sldChg chg="del">
        <pc:chgData name="Lukyanov Vadim RUNO" userId="493ad004-f191-4eab-a86b-fad87d77990f" providerId="ADAL" clId="{2FF5A69F-8954-4CA3-9DF5-6535F5D2BE3B}" dt="2025-03-25T07:45:12.069" v="165" actId="47"/>
        <pc:sldMkLst>
          <pc:docMk/>
          <pc:sldMk cId="416321702" sldId="1906"/>
        </pc:sldMkLst>
      </pc:sldChg>
      <pc:sldChg chg="del">
        <pc:chgData name="Lukyanov Vadim RUNO" userId="493ad004-f191-4eab-a86b-fad87d77990f" providerId="ADAL" clId="{2FF5A69F-8954-4CA3-9DF5-6535F5D2BE3B}" dt="2025-03-25T07:44:55.647" v="150" actId="47"/>
        <pc:sldMkLst>
          <pc:docMk/>
          <pc:sldMk cId="2723602454" sldId="2134804282"/>
        </pc:sldMkLst>
      </pc:sldChg>
      <pc:sldChg chg="del">
        <pc:chgData name="Lukyanov Vadim RUNO" userId="493ad004-f191-4eab-a86b-fad87d77990f" providerId="ADAL" clId="{2FF5A69F-8954-4CA3-9DF5-6535F5D2BE3B}" dt="2025-03-25T07:45:09.866" v="162" actId="47"/>
        <pc:sldMkLst>
          <pc:docMk/>
          <pc:sldMk cId="107204685" sldId="2147374418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0" sldId="2147374468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1753277536" sldId="2147374471"/>
        </pc:sldMkLst>
      </pc:sldChg>
      <pc:sldChg chg="modSp mod">
        <pc:chgData name="Lukyanov Vadim RUNO" userId="493ad004-f191-4eab-a86b-fad87d77990f" providerId="ADAL" clId="{2FF5A69F-8954-4CA3-9DF5-6535F5D2BE3B}" dt="2025-03-25T07:43:51.782" v="116" actId="20577"/>
        <pc:sldMkLst>
          <pc:docMk/>
          <pc:sldMk cId="0" sldId="2147480515"/>
        </pc:sldMkLst>
        <pc:spChg chg="mod">
          <ac:chgData name="Lukyanov Vadim RUNO" userId="493ad004-f191-4eab-a86b-fad87d77990f" providerId="ADAL" clId="{2FF5A69F-8954-4CA3-9DF5-6535F5D2BE3B}" dt="2025-03-25T07:43:51.782" v="116" actId="20577"/>
          <ac:spMkLst>
            <pc:docMk/>
            <pc:sldMk cId="0" sldId="2147480515"/>
            <ac:spMk id="2" creationId="{00000000-0000-0000-0000-000000000000}"/>
          </ac:spMkLst>
        </pc:spChg>
      </pc:sldChg>
      <pc:sldChg chg="delSp modSp del mod">
        <pc:chgData name="Lukyanov Vadim RUNO" userId="493ad004-f191-4eab-a86b-fad87d77990f" providerId="ADAL" clId="{2FF5A69F-8954-4CA3-9DF5-6535F5D2BE3B}" dt="2025-03-25T07:45:42.541" v="173" actId="47"/>
        <pc:sldMkLst>
          <pc:docMk/>
          <pc:sldMk cId="0" sldId="2147480516"/>
        </pc:sldMkLst>
      </pc:sldChg>
      <pc:sldChg chg="del">
        <pc:chgData name="Lukyanov Vadim RUNO" userId="493ad004-f191-4eab-a86b-fad87d77990f" providerId="ADAL" clId="{2FF5A69F-8954-4CA3-9DF5-6535F5D2BE3B}" dt="2025-03-25T07:33:41.483" v="14" actId="2696"/>
        <pc:sldMkLst>
          <pc:docMk/>
          <pc:sldMk cId="0" sldId="2147480517"/>
        </pc:sldMkLst>
      </pc:sldChg>
      <pc:sldChg chg="del">
        <pc:chgData name="Lukyanov Vadim RUNO" userId="493ad004-f191-4eab-a86b-fad87d77990f" providerId="ADAL" clId="{2FF5A69F-8954-4CA3-9DF5-6535F5D2BE3B}" dt="2025-03-25T07:33:43.377" v="15" actId="2696"/>
        <pc:sldMkLst>
          <pc:docMk/>
          <pc:sldMk cId="0" sldId="2147480518"/>
        </pc:sldMkLst>
      </pc:sldChg>
      <pc:sldChg chg="del">
        <pc:chgData name="Lukyanov Vadim RUNO" userId="493ad004-f191-4eab-a86b-fad87d77990f" providerId="ADAL" clId="{2FF5A69F-8954-4CA3-9DF5-6535F5D2BE3B}" dt="2025-03-25T07:33:52.842" v="19" actId="47"/>
        <pc:sldMkLst>
          <pc:docMk/>
          <pc:sldMk cId="0" sldId="2147480519"/>
        </pc:sldMkLst>
      </pc:sldChg>
      <pc:sldChg chg="del">
        <pc:chgData name="Lukyanov Vadim RUNO" userId="493ad004-f191-4eab-a86b-fad87d77990f" providerId="ADAL" clId="{2FF5A69F-8954-4CA3-9DF5-6535F5D2BE3B}" dt="2025-03-25T07:33:55.063" v="20" actId="47"/>
        <pc:sldMkLst>
          <pc:docMk/>
          <pc:sldMk cId="1403655092" sldId="2147480520"/>
        </pc:sldMkLst>
      </pc:sldChg>
      <pc:sldChg chg="del">
        <pc:chgData name="Lukyanov Vadim RUNO" userId="493ad004-f191-4eab-a86b-fad87d77990f" providerId="ADAL" clId="{2FF5A69F-8954-4CA3-9DF5-6535F5D2BE3B}" dt="2025-03-25T07:33:56.715" v="21" actId="47"/>
        <pc:sldMkLst>
          <pc:docMk/>
          <pc:sldMk cId="1572486988" sldId="2147480522"/>
        </pc:sldMkLst>
      </pc:sldChg>
      <pc:sldChg chg="modSp del mod">
        <pc:chgData name="Lukyanov Vadim RUNO" userId="493ad004-f191-4eab-a86b-fad87d77990f" providerId="ADAL" clId="{2FF5A69F-8954-4CA3-9DF5-6535F5D2BE3B}" dt="2025-03-25T07:44:16.660" v="119" actId="47"/>
        <pc:sldMkLst>
          <pc:docMk/>
          <pc:sldMk cId="1203151668" sldId="2147480523"/>
        </pc:sldMkLst>
      </pc:sldChg>
      <pc:sldChg chg="del">
        <pc:chgData name="Lukyanov Vadim RUNO" userId="493ad004-f191-4eab-a86b-fad87d77990f" providerId="ADAL" clId="{2FF5A69F-8954-4CA3-9DF5-6535F5D2BE3B}" dt="2025-03-25T07:44:18.310" v="120" actId="47"/>
        <pc:sldMkLst>
          <pc:docMk/>
          <pc:sldMk cId="401161647" sldId="2147480524"/>
        </pc:sldMkLst>
      </pc:sldChg>
      <pc:sldChg chg="del">
        <pc:chgData name="Lukyanov Vadim RUNO" userId="493ad004-f191-4eab-a86b-fad87d77990f" providerId="ADAL" clId="{2FF5A69F-8954-4CA3-9DF5-6535F5D2BE3B}" dt="2025-03-25T07:44:13.720" v="117" actId="47"/>
        <pc:sldMkLst>
          <pc:docMk/>
          <pc:sldMk cId="575396868" sldId="2147480525"/>
        </pc:sldMkLst>
      </pc:sldChg>
      <pc:sldChg chg="del">
        <pc:chgData name="Lukyanov Vadim RUNO" userId="493ad004-f191-4eab-a86b-fad87d77990f" providerId="ADAL" clId="{2FF5A69F-8954-4CA3-9DF5-6535F5D2BE3B}" dt="2025-03-25T07:44:19.899" v="121" actId="47"/>
        <pc:sldMkLst>
          <pc:docMk/>
          <pc:sldMk cId="2197115652" sldId="2147480526"/>
        </pc:sldMkLst>
      </pc:sldChg>
      <pc:sldChg chg="del">
        <pc:chgData name="Lukyanov Vadim RUNO" userId="493ad004-f191-4eab-a86b-fad87d77990f" providerId="ADAL" clId="{2FF5A69F-8954-4CA3-9DF5-6535F5D2BE3B}" dt="2025-03-25T07:44:21.471" v="122" actId="47"/>
        <pc:sldMkLst>
          <pc:docMk/>
          <pc:sldMk cId="1076121042" sldId="2147480527"/>
        </pc:sldMkLst>
      </pc:sldChg>
      <pc:sldChg chg="del">
        <pc:chgData name="Lukyanov Vadim RUNO" userId="493ad004-f191-4eab-a86b-fad87d77990f" providerId="ADAL" clId="{2FF5A69F-8954-4CA3-9DF5-6535F5D2BE3B}" dt="2025-03-25T07:44:22.476" v="123" actId="47"/>
        <pc:sldMkLst>
          <pc:docMk/>
          <pc:sldMk cId="4074971478" sldId="2147480528"/>
        </pc:sldMkLst>
      </pc:sldChg>
      <pc:sldChg chg="del">
        <pc:chgData name="Lukyanov Vadim RUNO" userId="493ad004-f191-4eab-a86b-fad87d77990f" providerId="ADAL" clId="{2FF5A69F-8954-4CA3-9DF5-6535F5D2BE3B}" dt="2025-03-25T07:44:25.563" v="124" actId="47"/>
        <pc:sldMkLst>
          <pc:docMk/>
          <pc:sldMk cId="4144047532" sldId="2147480529"/>
        </pc:sldMkLst>
      </pc:sldChg>
      <pc:sldChg chg="del">
        <pc:chgData name="Lukyanov Vadim RUNO" userId="493ad004-f191-4eab-a86b-fad87d77990f" providerId="ADAL" clId="{2FF5A69F-8954-4CA3-9DF5-6535F5D2BE3B}" dt="2025-03-25T07:44:26.472" v="125" actId="47"/>
        <pc:sldMkLst>
          <pc:docMk/>
          <pc:sldMk cId="1230187801" sldId="2147480530"/>
        </pc:sldMkLst>
      </pc:sldChg>
      <pc:sldChg chg="del">
        <pc:chgData name="Lukyanov Vadim RUNO" userId="493ad004-f191-4eab-a86b-fad87d77990f" providerId="ADAL" clId="{2FF5A69F-8954-4CA3-9DF5-6535F5D2BE3B}" dt="2025-03-25T07:44:27.455" v="126" actId="47"/>
        <pc:sldMkLst>
          <pc:docMk/>
          <pc:sldMk cId="1035512115" sldId="2147480531"/>
        </pc:sldMkLst>
      </pc:sldChg>
      <pc:sldChg chg="del">
        <pc:chgData name="Lukyanov Vadim RUNO" userId="493ad004-f191-4eab-a86b-fad87d77990f" providerId="ADAL" clId="{2FF5A69F-8954-4CA3-9DF5-6535F5D2BE3B}" dt="2025-03-25T07:44:28.416" v="127" actId="47"/>
        <pc:sldMkLst>
          <pc:docMk/>
          <pc:sldMk cId="3517485063" sldId="2147480532"/>
        </pc:sldMkLst>
      </pc:sldChg>
      <pc:sldChg chg="del">
        <pc:chgData name="Lukyanov Vadim RUNO" userId="493ad004-f191-4eab-a86b-fad87d77990f" providerId="ADAL" clId="{2FF5A69F-8954-4CA3-9DF5-6535F5D2BE3B}" dt="2025-03-25T07:44:29.331" v="128" actId="47"/>
        <pc:sldMkLst>
          <pc:docMk/>
          <pc:sldMk cId="2815947976" sldId="2147480534"/>
        </pc:sldMkLst>
      </pc:sldChg>
      <pc:sldChg chg="del">
        <pc:chgData name="Lukyanov Vadim RUNO" userId="493ad004-f191-4eab-a86b-fad87d77990f" providerId="ADAL" clId="{2FF5A69F-8954-4CA3-9DF5-6535F5D2BE3B}" dt="2025-03-25T07:44:30.258" v="129" actId="47"/>
        <pc:sldMkLst>
          <pc:docMk/>
          <pc:sldMk cId="2506693136" sldId="2147480535"/>
        </pc:sldMkLst>
      </pc:sldChg>
      <pc:sldChg chg="del">
        <pc:chgData name="Lukyanov Vadim RUNO" userId="493ad004-f191-4eab-a86b-fad87d77990f" providerId="ADAL" clId="{2FF5A69F-8954-4CA3-9DF5-6535F5D2BE3B}" dt="2025-03-25T07:44:32.049" v="130" actId="47"/>
        <pc:sldMkLst>
          <pc:docMk/>
          <pc:sldMk cId="95803382" sldId="2147480536"/>
        </pc:sldMkLst>
      </pc:sldChg>
      <pc:sldChg chg="del">
        <pc:chgData name="Lukyanov Vadim RUNO" userId="493ad004-f191-4eab-a86b-fad87d77990f" providerId="ADAL" clId="{2FF5A69F-8954-4CA3-9DF5-6535F5D2BE3B}" dt="2025-03-25T07:44:36.001" v="132" actId="47"/>
        <pc:sldMkLst>
          <pc:docMk/>
          <pc:sldMk cId="2631052611" sldId="2147480537"/>
        </pc:sldMkLst>
      </pc:sldChg>
      <pc:sldChg chg="del">
        <pc:chgData name="Lukyanov Vadim RUNO" userId="493ad004-f191-4eab-a86b-fad87d77990f" providerId="ADAL" clId="{2FF5A69F-8954-4CA3-9DF5-6535F5D2BE3B}" dt="2025-03-25T07:44:34.385" v="131" actId="47"/>
        <pc:sldMkLst>
          <pc:docMk/>
          <pc:sldMk cId="3923780232" sldId="2147480538"/>
        </pc:sldMkLst>
      </pc:sldChg>
      <pc:sldChg chg="del">
        <pc:chgData name="Lukyanov Vadim RUNO" userId="493ad004-f191-4eab-a86b-fad87d77990f" providerId="ADAL" clId="{2FF5A69F-8954-4CA3-9DF5-6535F5D2BE3B}" dt="2025-03-25T07:44:39.032" v="133" actId="47"/>
        <pc:sldMkLst>
          <pc:docMk/>
          <pc:sldMk cId="1788941848" sldId="2147480539"/>
        </pc:sldMkLst>
      </pc:sldChg>
      <pc:sldChg chg="del">
        <pc:chgData name="Lukyanov Vadim RUNO" userId="493ad004-f191-4eab-a86b-fad87d77990f" providerId="ADAL" clId="{2FF5A69F-8954-4CA3-9DF5-6535F5D2BE3B}" dt="2025-03-25T07:44:39.896" v="134" actId="47"/>
        <pc:sldMkLst>
          <pc:docMk/>
          <pc:sldMk cId="183544620" sldId="2147480540"/>
        </pc:sldMkLst>
      </pc:sldChg>
      <pc:sldChg chg="del">
        <pc:chgData name="Lukyanov Vadim RUNO" userId="493ad004-f191-4eab-a86b-fad87d77990f" providerId="ADAL" clId="{2FF5A69F-8954-4CA3-9DF5-6535F5D2BE3B}" dt="2025-03-25T07:44:40.846" v="135" actId="47"/>
        <pc:sldMkLst>
          <pc:docMk/>
          <pc:sldMk cId="3193869009" sldId="2147480541"/>
        </pc:sldMkLst>
      </pc:sldChg>
      <pc:sldChg chg="del">
        <pc:chgData name="Lukyanov Vadim RUNO" userId="493ad004-f191-4eab-a86b-fad87d77990f" providerId="ADAL" clId="{2FF5A69F-8954-4CA3-9DF5-6535F5D2BE3B}" dt="2025-03-25T07:44:41.825" v="136" actId="47"/>
        <pc:sldMkLst>
          <pc:docMk/>
          <pc:sldMk cId="3888645951" sldId="2147480542"/>
        </pc:sldMkLst>
      </pc:sldChg>
      <pc:sldChg chg="del">
        <pc:chgData name="Lukyanov Vadim RUNO" userId="493ad004-f191-4eab-a86b-fad87d77990f" providerId="ADAL" clId="{2FF5A69F-8954-4CA3-9DF5-6535F5D2BE3B}" dt="2025-03-25T07:44:42.895" v="137" actId="47"/>
        <pc:sldMkLst>
          <pc:docMk/>
          <pc:sldMk cId="852315619" sldId="2147480543"/>
        </pc:sldMkLst>
      </pc:sldChg>
      <pc:sldChg chg="del">
        <pc:chgData name="Lukyanov Vadim RUNO" userId="493ad004-f191-4eab-a86b-fad87d77990f" providerId="ADAL" clId="{2FF5A69F-8954-4CA3-9DF5-6535F5D2BE3B}" dt="2025-03-25T07:44:45.456" v="139" actId="47"/>
        <pc:sldMkLst>
          <pc:docMk/>
          <pc:sldMk cId="3328764504" sldId="2147480544"/>
        </pc:sldMkLst>
      </pc:sldChg>
      <pc:sldChg chg="del">
        <pc:chgData name="Lukyanov Vadim RUNO" userId="493ad004-f191-4eab-a86b-fad87d77990f" providerId="ADAL" clId="{2FF5A69F-8954-4CA3-9DF5-6535F5D2BE3B}" dt="2025-03-25T07:44:43.964" v="138" actId="47"/>
        <pc:sldMkLst>
          <pc:docMk/>
          <pc:sldMk cId="4271457225" sldId="2147480545"/>
        </pc:sldMkLst>
      </pc:sldChg>
      <pc:sldChg chg="del">
        <pc:chgData name="Lukyanov Vadim RUNO" userId="493ad004-f191-4eab-a86b-fad87d77990f" providerId="ADAL" clId="{2FF5A69F-8954-4CA3-9DF5-6535F5D2BE3B}" dt="2025-03-25T07:44:46.131" v="140" actId="47"/>
        <pc:sldMkLst>
          <pc:docMk/>
          <pc:sldMk cId="414333406" sldId="2147480546"/>
        </pc:sldMkLst>
      </pc:sldChg>
      <pc:sldChg chg="del">
        <pc:chgData name="Lukyanov Vadim RUNO" userId="493ad004-f191-4eab-a86b-fad87d77990f" providerId="ADAL" clId="{2FF5A69F-8954-4CA3-9DF5-6535F5D2BE3B}" dt="2025-03-25T07:44:47.004" v="141" actId="47"/>
        <pc:sldMkLst>
          <pc:docMk/>
          <pc:sldMk cId="4262930004" sldId="2147480547"/>
        </pc:sldMkLst>
      </pc:sldChg>
      <pc:sldChg chg="del">
        <pc:chgData name="Lukyanov Vadim RUNO" userId="493ad004-f191-4eab-a86b-fad87d77990f" providerId="ADAL" clId="{2FF5A69F-8954-4CA3-9DF5-6535F5D2BE3B}" dt="2025-03-25T07:44:51.635" v="145" actId="47"/>
        <pc:sldMkLst>
          <pc:docMk/>
          <pc:sldMk cId="1528410741" sldId="2147480548"/>
        </pc:sldMkLst>
      </pc:sldChg>
      <pc:sldChg chg="del">
        <pc:chgData name="Lukyanov Vadim RUNO" userId="493ad004-f191-4eab-a86b-fad87d77990f" providerId="ADAL" clId="{2FF5A69F-8954-4CA3-9DF5-6535F5D2BE3B}" dt="2025-03-25T07:44:50.943" v="144" actId="47"/>
        <pc:sldMkLst>
          <pc:docMk/>
          <pc:sldMk cId="4042632981" sldId="2147480549"/>
        </pc:sldMkLst>
      </pc:sldChg>
      <pc:sldChg chg="del">
        <pc:chgData name="Lukyanov Vadim RUNO" userId="493ad004-f191-4eab-a86b-fad87d77990f" providerId="ADAL" clId="{2FF5A69F-8954-4CA3-9DF5-6535F5D2BE3B}" dt="2025-03-25T07:44:52.388" v="146" actId="47"/>
        <pc:sldMkLst>
          <pc:docMk/>
          <pc:sldMk cId="2972952863" sldId="2147480550"/>
        </pc:sldMkLst>
      </pc:sldChg>
      <pc:sldChg chg="del">
        <pc:chgData name="Lukyanov Vadim RUNO" userId="493ad004-f191-4eab-a86b-fad87d77990f" providerId="ADAL" clId="{2FF5A69F-8954-4CA3-9DF5-6535F5D2BE3B}" dt="2025-03-25T07:44:53.567" v="147" actId="47"/>
        <pc:sldMkLst>
          <pc:docMk/>
          <pc:sldMk cId="3607880925" sldId="2147480551"/>
        </pc:sldMkLst>
      </pc:sldChg>
      <pc:sldChg chg="del">
        <pc:chgData name="Lukyanov Vadim RUNO" userId="493ad004-f191-4eab-a86b-fad87d77990f" providerId="ADAL" clId="{2FF5A69F-8954-4CA3-9DF5-6535F5D2BE3B}" dt="2025-03-25T07:44:54.258" v="148" actId="47"/>
        <pc:sldMkLst>
          <pc:docMk/>
          <pc:sldMk cId="2639893928" sldId="2147480552"/>
        </pc:sldMkLst>
      </pc:sldChg>
      <pc:sldChg chg="del">
        <pc:chgData name="Lukyanov Vadim RUNO" userId="493ad004-f191-4eab-a86b-fad87d77990f" providerId="ADAL" clId="{2FF5A69F-8954-4CA3-9DF5-6535F5D2BE3B}" dt="2025-03-25T07:44:54.952" v="149" actId="47"/>
        <pc:sldMkLst>
          <pc:docMk/>
          <pc:sldMk cId="2507167136" sldId="2147480553"/>
        </pc:sldMkLst>
      </pc:sldChg>
      <pc:sldChg chg="del">
        <pc:chgData name="Lukyanov Vadim RUNO" userId="493ad004-f191-4eab-a86b-fad87d77990f" providerId="ADAL" clId="{2FF5A69F-8954-4CA3-9DF5-6535F5D2BE3B}" dt="2025-03-25T07:44:57.450" v="151" actId="47"/>
        <pc:sldMkLst>
          <pc:docMk/>
          <pc:sldMk cId="1547534264" sldId="2147480554"/>
        </pc:sldMkLst>
      </pc:sldChg>
      <pc:sldChg chg="del">
        <pc:chgData name="Lukyanov Vadim RUNO" userId="493ad004-f191-4eab-a86b-fad87d77990f" providerId="ADAL" clId="{2FF5A69F-8954-4CA3-9DF5-6535F5D2BE3B}" dt="2025-03-25T07:44:58.284" v="152" actId="47"/>
        <pc:sldMkLst>
          <pc:docMk/>
          <pc:sldMk cId="440938743" sldId="2147480555"/>
        </pc:sldMkLst>
      </pc:sldChg>
      <pc:sldChg chg="del">
        <pc:chgData name="Lukyanov Vadim RUNO" userId="493ad004-f191-4eab-a86b-fad87d77990f" providerId="ADAL" clId="{2FF5A69F-8954-4CA3-9DF5-6535F5D2BE3B}" dt="2025-03-25T07:44:59.041" v="153" actId="47"/>
        <pc:sldMkLst>
          <pc:docMk/>
          <pc:sldMk cId="789732840" sldId="2147480556"/>
        </pc:sldMkLst>
      </pc:sldChg>
      <pc:sldChg chg="del">
        <pc:chgData name="Lukyanov Vadim RUNO" userId="493ad004-f191-4eab-a86b-fad87d77990f" providerId="ADAL" clId="{2FF5A69F-8954-4CA3-9DF5-6535F5D2BE3B}" dt="2025-03-25T07:44:59.829" v="154" actId="47"/>
        <pc:sldMkLst>
          <pc:docMk/>
          <pc:sldMk cId="2054112150" sldId="2147480557"/>
        </pc:sldMkLst>
      </pc:sldChg>
      <pc:sldChg chg="del">
        <pc:chgData name="Lukyanov Vadim RUNO" userId="493ad004-f191-4eab-a86b-fad87d77990f" providerId="ADAL" clId="{2FF5A69F-8954-4CA3-9DF5-6535F5D2BE3B}" dt="2025-03-25T07:45:02.090" v="155" actId="47"/>
        <pc:sldMkLst>
          <pc:docMk/>
          <pc:sldMk cId="3236343819" sldId="2147480559"/>
        </pc:sldMkLst>
      </pc:sldChg>
      <pc:sldChg chg="del">
        <pc:chgData name="Lukyanov Vadim RUNO" userId="493ad004-f191-4eab-a86b-fad87d77990f" providerId="ADAL" clId="{2FF5A69F-8954-4CA3-9DF5-6535F5D2BE3B}" dt="2025-03-25T07:45:04.117" v="156" actId="47"/>
        <pc:sldMkLst>
          <pc:docMk/>
          <pc:sldMk cId="3829637507" sldId="2147480560"/>
        </pc:sldMkLst>
      </pc:sldChg>
      <pc:sldChg chg="del">
        <pc:chgData name="Lukyanov Vadim RUNO" userId="493ad004-f191-4eab-a86b-fad87d77990f" providerId="ADAL" clId="{2FF5A69F-8954-4CA3-9DF5-6535F5D2BE3B}" dt="2025-03-25T07:45:04.855" v="157" actId="47"/>
        <pc:sldMkLst>
          <pc:docMk/>
          <pc:sldMk cId="3958972878" sldId="2147480561"/>
        </pc:sldMkLst>
      </pc:sldChg>
      <pc:sldChg chg="del">
        <pc:chgData name="Lukyanov Vadim RUNO" userId="493ad004-f191-4eab-a86b-fad87d77990f" providerId="ADAL" clId="{2FF5A69F-8954-4CA3-9DF5-6535F5D2BE3B}" dt="2025-03-25T07:45:05.563" v="158" actId="47"/>
        <pc:sldMkLst>
          <pc:docMk/>
          <pc:sldMk cId="4268409206" sldId="2147480562"/>
        </pc:sldMkLst>
      </pc:sldChg>
      <pc:sldChg chg="del">
        <pc:chgData name="Lukyanov Vadim RUNO" userId="493ad004-f191-4eab-a86b-fad87d77990f" providerId="ADAL" clId="{2FF5A69F-8954-4CA3-9DF5-6535F5D2BE3B}" dt="2025-03-25T07:45:06.363" v="159" actId="47"/>
        <pc:sldMkLst>
          <pc:docMk/>
          <pc:sldMk cId="1925701974" sldId="2147480563"/>
        </pc:sldMkLst>
      </pc:sldChg>
      <pc:sldChg chg="del">
        <pc:chgData name="Lukyanov Vadim RUNO" userId="493ad004-f191-4eab-a86b-fad87d77990f" providerId="ADAL" clId="{2FF5A69F-8954-4CA3-9DF5-6535F5D2BE3B}" dt="2025-03-25T07:45:07.071" v="160" actId="47"/>
        <pc:sldMkLst>
          <pc:docMk/>
          <pc:sldMk cId="846938572" sldId="2147480564"/>
        </pc:sldMkLst>
      </pc:sldChg>
      <pc:sldChg chg="del">
        <pc:chgData name="Lukyanov Vadim RUNO" userId="493ad004-f191-4eab-a86b-fad87d77990f" providerId="ADAL" clId="{2FF5A69F-8954-4CA3-9DF5-6535F5D2BE3B}" dt="2025-03-25T07:45:07.904" v="161" actId="47"/>
        <pc:sldMkLst>
          <pc:docMk/>
          <pc:sldMk cId="2549843649" sldId="2147480565"/>
        </pc:sldMkLst>
      </pc:sldChg>
      <pc:sldChg chg="addSp modSp add del mod">
        <pc:chgData name="Lukyanov Vadim RUNO" userId="493ad004-f191-4eab-a86b-fad87d77990f" providerId="ADAL" clId="{2FF5A69F-8954-4CA3-9DF5-6535F5D2BE3B}" dt="2025-03-31T03:34:39.732" v="989" actId="2696"/>
        <pc:sldMkLst>
          <pc:docMk/>
          <pc:sldMk cId="3632571221" sldId="2147480566"/>
        </pc:sldMkLst>
      </pc:sldChg>
      <pc:sldChg chg="del">
        <pc:chgData name="Lukyanov Vadim RUNO" userId="493ad004-f191-4eab-a86b-fad87d77990f" providerId="ADAL" clId="{2FF5A69F-8954-4CA3-9DF5-6535F5D2BE3B}" dt="2025-03-25T07:46:33.674" v="176" actId="47"/>
        <pc:sldMkLst>
          <pc:docMk/>
          <pc:sldMk cId="1432321768" sldId="2147480567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1150111741" sldId="2147480568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735038568" sldId="2147480569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2294633665" sldId="2147480570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565435226" sldId="2147480571"/>
        </pc:sldMkLst>
      </pc:sldChg>
      <pc:sldChg chg="addSp delSp modSp mod ord">
        <pc:chgData name="Lukyanov Vadim RUNO" userId="493ad004-f191-4eab-a86b-fad87d77990f" providerId="ADAL" clId="{2FF5A69F-8954-4CA3-9DF5-6535F5D2BE3B}" dt="2025-03-28T04:03:59.433" v="960" actId="6549"/>
        <pc:sldMkLst>
          <pc:docMk/>
          <pc:sldMk cId="1201367504" sldId="2147480572"/>
        </pc:sldMkLst>
        <pc:spChg chg="add mod">
          <ac:chgData name="Lukyanov Vadim RUNO" userId="493ad004-f191-4eab-a86b-fad87d77990f" providerId="ADAL" clId="{2FF5A69F-8954-4CA3-9DF5-6535F5D2BE3B}" dt="2025-03-25T08:27:38.029" v="900" actId="1076"/>
          <ac:spMkLst>
            <pc:docMk/>
            <pc:sldMk cId="1201367504" sldId="2147480572"/>
            <ac:spMk id="8" creationId="{F68D45D2-1231-E5A6-3888-C43ED4BF062D}"/>
          </ac:spMkLst>
        </pc:spChg>
        <pc:spChg chg="add mod">
          <ac:chgData name="Lukyanov Vadim RUNO" userId="493ad004-f191-4eab-a86b-fad87d77990f" providerId="ADAL" clId="{2FF5A69F-8954-4CA3-9DF5-6535F5D2BE3B}" dt="2025-03-25T07:42:26.774" v="101" actId="552"/>
          <ac:spMkLst>
            <pc:docMk/>
            <pc:sldMk cId="1201367504" sldId="2147480572"/>
            <ac:spMk id="10" creationId="{FEFB5B7D-FF89-AEEF-4DC0-BB123DCAA09A}"/>
          </ac:spMkLst>
        </pc:spChg>
        <pc:spChg chg="mod">
          <ac:chgData name="Lukyanov Vadim RUNO" userId="493ad004-f191-4eab-a86b-fad87d77990f" providerId="ADAL" clId="{2FF5A69F-8954-4CA3-9DF5-6535F5D2BE3B}" dt="2025-03-25T07:37:38.021" v="48" actId="207"/>
          <ac:spMkLst>
            <pc:docMk/>
            <pc:sldMk cId="1201367504" sldId="2147480572"/>
            <ac:spMk id="11" creationId="{1ECEFBF2-4AD1-7547-F959-FB0B15360B44}"/>
          </ac:spMkLst>
        </pc:spChg>
        <pc:spChg chg="add mod">
          <ac:chgData name="Lukyanov Vadim RUNO" userId="493ad004-f191-4eab-a86b-fad87d77990f" providerId="ADAL" clId="{2FF5A69F-8954-4CA3-9DF5-6535F5D2BE3B}" dt="2025-03-25T07:42:31.269" v="102" actId="408"/>
          <ac:spMkLst>
            <pc:docMk/>
            <pc:sldMk cId="1201367504" sldId="2147480572"/>
            <ac:spMk id="12" creationId="{966AA925-387D-BF7D-915A-1131ADEF5353}"/>
          </ac:spMkLst>
        </pc:spChg>
        <pc:spChg chg="add mod">
          <ac:chgData name="Lukyanov Vadim RUNO" userId="493ad004-f191-4eab-a86b-fad87d77990f" providerId="ADAL" clId="{2FF5A69F-8954-4CA3-9DF5-6535F5D2BE3B}" dt="2025-03-25T07:42:31.269" v="102" actId="408"/>
          <ac:spMkLst>
            <pc:docMk/>
            <pc:sldMk cId="1201367504" sldId="2147480572"/>
            <ac:spMk id="13" creationId="{99DE5C2E-C1E9-6810-32D8-A9B8C5376A17}"/>
          </ac:spMkLst>
        </pc:spChg>
        <pc:spChg chg="add mod">
          <ac:chgData name="Lukyanov Vadim RUNO" userId="493ad004-f191-4eab-a86b-fad87d77990f" providerId="ADAL" clId="{2FF5A69F-8954-4CA3-9DF5-6535F5D2BE3B}" dt="2025-03-25T07:42:26.774" v="101" actId="552"/>
          <ac:spMkLst>
            <pc:docMk/>
            <pc:sldMk cId="1201367504" sldId="2147480572"/>
            <ac:spMk id="14" creationId="{070BC502-4411-F616-C8A4-7C3AD9C2CD06}"/>
          </ac:spMkLst>
        </pc:spChg>
        <pc:spChg chg="mod">
          <ac:chgData name="Lukyanov Vadim RUNO" userId="493ad004-f191-4eab-a86b-fad87d77990f" providerId="ADAL" clId="{2FF5A69F-8954-4CA3-9DF5-6535F5D2BE3B}" dt="2025-03-28T04:03:59.433" v="960" actId="6549"/>
          <ac:spMkLst>
            <pc:docMk/>
            <pc:sldMk cId="1201367504" sldId="2147480572"/>
            <ac:spMk id="15" creationId="{BB7DCBB0-B2A4-7FCC-FAE0-D4DEAE207E96}"/>
          </ac:spMkLst>
        </pc:spChg>
        <pc:spChg chg="mod">
          <ac:chgData name="Lukyanov Vadim RUNO" userId="493ad004-f191-4eab-a86b-fad87d77990f" providerId="ADAL" clId="{2FF5A69F-8954-4CA3-9DF5-6535F5D2BE3B}" dt="2025-03-25T07:37:38.021" v="48" actId="207"/>
          <ac:spMkLst>
            <pc:docMk/>
            <pc:sldMk cId="1201367504" sldId="2147480572"/>
            <ac:spMk id="19" creationId="{E3B7189E-AF9B-6FD4-78B4-08BBBDB1EBA5}"/>
          </ac:spMkLst>
        </pc:spChg>
        <pc:spChg chg="mod">
          <ac:chgData name="Lukyanov Vadim RUNO" userId="493ad004-f191-4eab-a86b-fad87d77990f" providerId="ADAL" clId="{2FF5A69F-8954-4CA3-9DF5-6535F5D2BE3B}" dt="2025-03-25T07:35:10.785" v="29" actId="1076"/>
          <ac:spMkLst>
            <pc:docMk/>
            <pc:sldMk cId="1201367504" sldId="2147480572"/>
            <ac:spMk id="21" creationId="{354F4CE6-7BAB-6C9E-3B09-FD10C65F66CD}"/>
          </ac:spMkLst>
        </pc:spChg>
        <pc:spChg chg="mod">
          <ac:chgData name="Lukyanov Vadim RUNO" userId="493ad004-f191-4eab-a86b-fad87d77990f" providerId="ADAL" clId="{2FF5A69F-8954-4CA3-9DF5-6535F5D2BE3B}" dt="2025-03-25T07:36:13.673" v="38" actId="1076"/>
          <ac:spMkLst>
            <pc:docMk/>
            <pc:sldMk cId="1201367504" sldId="2147480572"/>
            <ac:spMk id="22" creationId="{704EB87C-6914-5AD2-39AF-58AA841435B9}"/>
          </ac:spMkLst>
        </pc:spChg>
        <pc:spChg chg="mod">
          <ac:chgData name="Lukyanov Vadim RUNO" userId="493ad004-f191-4eab-a86b-fad87d77990f" providerId="ADAL" clId="{2FF5A69F-8954-4CA3-9DF5-6535F5D2BE3B}" dt="2025-03-25T07:36:13.673" v="38" actId="1076"/>
          <ac:spMkLst>
            <pc:docMk/>
            <pc:sldMk cId="1201367504" sldId="2147480572"/>
            <ac:spMk id="23" creationId="{793C4F48-0DDB-F3A4-5CBF-F4DA2348AC32}"/>
          </ac:spMkLst>
        </pc:spChg>
        <pc:spChg chg="mod">
          <ac:chgData name="Lukyanov Vadim RUNO" userId="493ad004-f191-4eab-a86b-fad87d77990f" providerId="ADAL" clId="{2FF5A69F-8954-4CA3-9DF5-6535F5D2BE3B}" dt="2025-03-25T07:36:13.673" v="38" actId="1076"/>
          <ac:spMkLst>
            <pc:docMk/>
            <pc:sldMk cId="1201367504" sldId="2147480572"/>
            <ac:spMk id="24" creationId="{0CD873C0-C9D0-0332-3CE6-C5035A578863}"/>
          </ac:spMkLst>
        </pc:spChg>
        <pc:grpChg chg="add mod">
          <ac:chgData name="Lukyanov Vadim RUNO" userId="493ad004-f191-4eab-a86b-fad87d77990f" providerId="ADAL" clId="{2FF5A69F-8954-4CA3-9DF5-6535F5D2BE3B}" dt="2025-03-25T07:38:49.888" v="55" actId="14100"/>
          <ac:grpSpMkLst>
            <pc:docMk/>
            <pc:sldMk cId="1201367504" sldId="2147480572"/>
            <ac:grpSpMk id="2" creationId="{F9907334-6C29-57AB-3E81-567F37FFBCA1}"/>
          </ac:grpSpMkLst>
        </pc:grpChg>
        <pc:graphicFrameChg chg="add mod modGraphic">
          <ac:chgData name="Lukyanov Vadim RUNO" userId="493ad004-f191-4eab-a86b-fad87d77990f" providerId="ADAL" clId="{2FF5A69F-8954-4CA3-9DF5-6535F5D2BE3B}" dt="2025-03-25T07:41:23.493" v="94" actId="1076"/>
          <ac:graphicFrameMkLst>
            <pc:docMk/>
            <pc:sldMk cId="1201367504" sldId="2147480572"/>
            <ac:graphicFrameMk id="9" creationId="{F5062DFF-DBC7-B1DA-E6D7-D37C5B9499A0}"/>
          </ac:graphicFrameMkLst>
        </pc:graphicFrameChg>
        <pc:picChg chg="mod">
          <ac:chgData name="Lukyanov Vadim RUNO" userId="493ad004-f191-4eab-a86b-fad87d77990f" providerId="ADAL" clId="{2FF5A69F-8954-4CA3-9DF5-6535F5D2BE3B}" dt="2025-03-25T07:38:30.431" v="51"/>
          <ac:picMkLst>
            <pc:docMk/>
            <pc:sldMk cId="1201367504" sldId="2147480572"/>
            <ac:picMk id="3" creationId="{EA659826-3B54-231A-4DE4-C4FD760D1508}"/>
          </ac:picMkLst>
        </pc:picChg>
        <pc:picChg chg="mod">
          <ac:chgData name="Lukyanov Vadim RUNO" userId="493ad004-f191-4eab-a86b-fad87d77990f" providerId="ADAL" clId="{2FF5A69F-8954-4CA3-9DF5-6535F5D2BE3B}" dt="2025-03-25T07:38:30.431" v="51"/>
          <ac:picMkLst>
            <pc:docMk/>
            <pc:sldMk cId="1201367504" sldId="2147480572"/>
            <ac:picMk id="6" creationId="{6DA22D2F-63F9-3CEC-162A-92A15081B65D}"/>
          </ac:picMkLst>
        </pc:picChg>
        <pc:picChg chg="mod modCrop">
          <ac:chgData name="Lukyanov Vadim RUNO" userId="493ad004-f191-4eab-a86b-fad87d77990f" providerId="ADAL" clId="{2FF5A69F-8954-4CA3-9DF5-6535F5D2BE3B}" dt="2025-03-25T07:35:13.051" v="30" actId="1076"/>
          <ac:picMkLst>
            <pc:docMk/>
            <pc:sldMk cId="1201367504" sldId="2147480572"/>
            <ac:picMk id="20" creationId="{CF27A225-4062-5EF2-EE5F-C317F8375DB6}"/>
          </ac:picMkLst>
        </pc:picChg>
      </pc:sldChg>
      <pc:sldChg chg="del">
        <pc:chgData name="Lukyanov Vadim RUNO" userId="493ad004-f191-4eab-a86b-fad87d77990f" providerId="ADAL" clId="{2FF5A69F-8954-4CA3-9DF5-6535F5D2BE3B}" dt="2025-03-25T07:45:12.904" v="166" actId="47"/>
        <pc:sldMkLst>
          <pc:docMk/>
          <pc:sldMk cId="2966912719" sldId="2147480574"/>
        </pc:sldMkLst>
      </pc:sldChg>
      <pc:sldChg chg="del">
        <pc:chgData name="Lukyanov Vadim RUNO" userId="493ad004-f191-4eab-a86b-fad87d77990f" providerId="ADAL" clId="{2FF5A69F-8954-4CA3-9DF5-6535F5D2BE3B}" dt="2025-03-25T07:45:13.850" v="167" actId="47"/>
        <pc:sldMkLst>
          <pc:docMk/>
          <pc:sldMk cId="771970089" sldId="2147480575"/>
        </pc:sldMkLst>
      </pc:sldChg>
      <pc:sldChg chg="del">
        <pc:chgData name="Lukyanov Vadim RUNO" userId="493ad004-f191-4eab-a86b-fad87d77990f" providerId="ADAL" clId="{2FF5A69F-8954-4CA3-9DF5-6535F5D2BE3B}" dt="2025-03-25T07:45:14.555" v="168" actId="47"/>
        <pc:sldMkLst>
          <pc:docMk/>
          <pc:sldMk cId="938631313" sldId="2147480576"/>
        </pc:sldMkLst>
      </pc:sldChg>
      <pc:sldChg chg="del">
        <pc:chgData name="Lukyanov Vadim RUNO" userId="493ad004-f191-4eab-a86b-fad87d77990f" providerId="ADAL" clId="{2FF5A69F-8954-4CA3-9DF5-6535F5D2BE3B}" dt="2025-03-25T07:45:15.279" v="169" actId="47"/>
        <pc:sldMkLst>
          <pc:docMk/>
          <pc:sldMk cId="2776922435" sldId="2147480577"/>
        </pc:sldMkLst>
      </pc:sldChg>
      <pc:sldChg chg="del">
        <pc:chgData name="Lukyanov Vadim RUNO" userId="493ad004-f191-4eab-a86b-fad87d77990f" providerId="ADAL" clId="{2FF5A69F-8954-4CA3-9DF5-6535F5D2BE3B}" dt="2025-03-25T07:45:16.492" v="170" actId="47"/>
        <pc:sldMkLst>
          <pc:docMk/>
          <pc:sldMk cId="103418925" sldId="2147480578"/>
        </pc:sldMkLst>
      </pc:sldChg>
      <pc:sldChg chg="addSp delSp modSp mod ord">
        <pc:chgData name="Lukyanov Vadim RUNO" userId="493ad004-f191-4eab-a86b-fad87d77990f" providerId="ADAL" clId="{2FF5A69F-8954-4CA3-9DF5-6535F5D2BE3B}" dt="2025-03-28T09:12:54.395" v="975" actId="1076"/>
        <pc:sldMkLst>
          <pc:docMk/>
          <pc:sldMk cId="1240006796" sldId="2147480582"/>
        </pc:sldMkLst>
        <pc:spChg chg="add mod ord">
          <ac:chgData name="Lukyanov Vadim RUNO" userId="493ad004-f191-4eab-a86b-fad87d77990f" providerId="ADAL" clId="{2FF5A69F-8954-4CA3-9DF5-6535F5D2BE3B}" dt="2025-03-28T09:12:54.395" v="975" actId="1076"/>
          <ac:spMkLst>
            <pc:docMk/>
            <pc:sldMk cId="1240006796" sldId="2147480582"/>
            <ac:spMk id="5" creationId="{FA7A2B1A-0826-5E22-80A3-B155C9C53CC1}"/>
          </ac:spMkLst>
        </pc:spChg>
        <pc:graphicFrameChg chg="modGraphic">
          <ac:chgData name="Lukyanov Vadim RUNO" userId="493ad004-f191-4eab-a86b-fad87d77990f" providerId="ADAL" clId="{2FF5A69F-8954-4CA3-9DF5-6535F5D2BE3B}" dt="2025-03-28T09:12:44.974" v="973" actId="14734"/>
          <ac:graphicFrameMkLst>
            <pc:docMk/>
            <pc:sldMk cId="1240006796" sldId="2147480582"/>
            <ac:graphicFrameMk id="2" creationId="{CC8AAA1B-F8BD-5DC0-D302-1884D6D02699}"/>
          </ac:graphicFrameMkLst>
        </pc:graphicFrameChg>
      </pc:sldChg>
      <pc:sldChg chg="del">
        <pc:chgData name="Lukyanov Vadim RUNO" userId="493ad004-f191-4eab-a86b-fad87d77990f" providerId="ADAL" clId="{2FF5A69F-8954-4CA3-9DF5-6535F5D2BE3B}" dt="2025-03-25T07:47:12.730" v="189" actId="47"/>
        <pc:sldMkLst>
          <pc:docMk/>
          <pc:sldMk cId="1495834219" sldId="2147480583"/>
        </pc:sldMkLst>
      </pc:sldChg>
      <pc:sldChg chg="del">
        <pc:chgData name="Lukyanov Vadim RUNO" userId="493ad004-f191-4eab-a86b-fad87d77990f" providerId="ADAL" clId="{2FF5A69F-8954-4CA3-9DF5-6535F5D2BE3B}" dt="2025-03-25T07:47:25.683" v="190" actId="47"/>
        <pc:sldMkLst>
          <pc:docMk/>
          <pc:sldMk cId="171132760" sldId="2147480585"/>
        </pc:sldMkLst>
      </pc:sldChg>
      <pc:sldChg chg="addSp delSp modSp mod">
        <pc:chgData name="Lukyanov Vadim RUNO" userId="493ad004-f191-4eab-a86b-fad87d77990f" providerId="ADAL" clId="{2FF5A69F-8954-4CA3-9DF5-6535F5D2BE3B}" dt="2025-03-25T07:55:24.532" v="294" actId="1076"/>
        <pc:sldMkLst>
          <pc:docMk/>
          <pc:sldMk cId="3577812429" sldId="2147480587"/>
        </pc:sldMkLst>
        <pc:spChg chg="mod">
          <ac:chgData name="Lukyanov Vadim RUNO" userId="493ad004-f191-4eab-a86b-fad87d77990f" providerId="ADAL" clId="{2FF5A69F-8954-4CA3-9DF5-6535F5D2BE3B}" dt="2025-03-25T07:51:05.624" v="207" actId="1076"/>
          <ac:spMkLst>
            <pc:docMk/>
            <pc:sldMk cId="3577812429" sldId="2147480587"/>
            <ac:spMk id="3" creationId="{25AEF6D6-287C-3583-AF5B-D348A5C0ECB4}"/>
          </ac:spMkLst>
        </pc:spChg>
        <pc:spChg chg="add del">
          <ac:chgData name="Lukyanov Vadim RUNO" userId="493ad004-f191-4eab-a86b-fad87d77990f" providerId="ADAL" clId="{2FF5A69F-8954-4CA3-9DF5-6535F5D2BE3B}" dt="2025-03-25T07:50:44.300" v="202" actId="478"/>
          <ac:spMkLst>
            <pc:docMk/>
            <pc:sldMk cId="3577812429" sldId="2147480587"/>
            <ac:spMk id="5" creationId="{727CC679-CACF-4ECB-5E2F-DC54341EF1E3}"/>
          </ac:spMkLst>
        </pc:spChg>
        <pc:spChg chg="mod">
          <ac:chgData name="Lukyanov Vadim RUNO" userId="493ad004-f191-4eab-a86b-fad87d77990f" providerId="ADAL" clId="{2FF5A69F-8954-4CA3-9DF5-6535F5D2BE3B}" dt="2025-03-25T07:53:18.989" v="290" actId="20577"/>
          <ac:spMkLst>
            <pc:docMk/>
            <pc:sldMk cId="3577812429" sldId="2147480587"/>
            <ac:spMk id="7" creationId="{6C9AEC45-3A67-E1E7-E68D-4353233F00E5}"/>
          </ac:spMkLst>
        </pc:spChg>
        <pc:spChg chg="mod">
          <ac:chgData name="Lukyanov Vadim RUNO" userId="493ad004-f191-4eab-a86b-fad87d77990f" providerId="ADAL" clId="{2FF5A69F-8954-4CA3-9DF5-6535F5D2BE3B}" dt="2025-03-25T07:52:15.728" v="246" actId="20577"/>
          <ac:spMkLst>
            <pc:docMk/>
            <pc:sldMk cId="3577812429" sldId="2147480587"/>
            <ac:spMk id="12" creationId="{110D214F-64F8-5152-9696-24C2BC92C35F}"/>
          </ac:spMkLst>
        </pc:spChg>
        <pc:picChg chg="add mod">
          <ac:chgData name="Lukyanov Vadim RUNO" userId="493ad004-f191-4eab-a86b-fad87d77990f" providerId="ADAL" clId="{2FF5A69F-8954-4CA3-9DF5-6535F5D2BE3B}" dt="2025-03-25T07:52:32.713" v="248" actId="1076"/>
          <ac:picMkLst>
            <pc:docMk/>
            <pc:sldMk cId="3577812429" sldId="2147480587"/>
            <ac:picMk id="2" creationId="{1D4D2E10-E573-469D-F822-49E5F6CA311A}"/>
          </ac:picMkLst>
        </pc:picChg>
        <pc:picChg chg="mod">
          <ac:chgData name="Lukyanov Vadim RUNO" userId="493ad004-f191-4eab-a86b-fad87d77990f" providerId="ADAL" clId="{2FF5A69F-8954-4CA3-9DF5-6535F5D2BE3B}" dt="2025-03-25T07:55:24.532" v="294" actId="1076"/>
          <ac:picMkLst>
            <pc:docMk/>
            <pc:sldMk cId="3577812429" sldId="2147480587"/>
            <ac:picMk id="19" creationId="{DF677F4D-9E83-4CF1-748B-D1100C546BD7}"/>
          </ac:picMkLst>
        </pc:picChg>
        <pc:picChg chg="mod">
          <ac:chgData name="Lukyanov Vadim RUNO" userId="493ad004-f191-4eab-a86b-fad87d77990f" providerId="ADAL" clId="{2FF5A69F-8954-4CA3-9DF5-6535F5D2BE3B}" dt="2025-03-25T07:55:20.383" v="293" actId="14100"/>
          <ac:picMkLst>
            <pc:docMk/>
            <pc:sldMk cId="3577812429" sldId="2147480587"/>
            <ac:picMk id="20" creationId="{B7E7BE18-CC34-F374-5A5C-5A967EA38175}"/>
          </ac:picMkLst>
        </pc:picChg>
      </pc:sldChg>
      <pc:sldChg chg="addSp delSp modSp add mod">
        <pc:chgData name="Lukyanov Vadim RUNO" userId="493ad004-f191-4eab-a86b-fad87d77990f" providerId="ADAL" clId="{2FF5A69F-8954-4CA3-9DF5-6535F5D2BE3B}" dt="2025-03-28T03:18:30.642" v="959" actId="1076"/>
        <pc:sldMkLst>
          <pc:docMk/>
          <pc:sldMk cId="817666068" sldId="2147480588"/>
        </pc:sldMkLst>
        <pc:spChg chg="add mod">
          <ac:chgData name="Lukyanov Vadim RUNO" userId="493ad004-f191-4eab-a86b-fad87d77990f" providerId="ADAL" clId="{2FF5A69F-8954-4CA3-9DF5-6535F5D2BE3B}" dt="2025-03-28T03:15:26.816" v="935" actId="164"/>
          <ac:spMkLst>
            <pc:docMk/>
            <pc:sldMk cId="817666068" sldId="2147480588"/>
            <ac:spMk id="2" creationId="{D3996DDD-90A7-E830-E73F-3F37EAB54078}"/>
          </ac:spMkLst>
        </pc:spChg>
        <pc:spChg chg="add mod">
          <ac:chgData name="Lukyanov Vadim RUNO" userId="493ad004-f191-4eab-a86b-fad87d77990f" providerId="ADAL" clId="{2FF5A69F-8954-4CA3-9DF5-6535F5D2BE3B}" dt="2025-03-28T03:15:11.460" v="934" actId="164"/>
          <ac:spMkLst>
            <pc:docMk/>
            <pc:sldMk cId="817666068" sldId="2147480588"/>
            <ac:spMk id="3" creationId="{167B4585-6A4A-0B37-73FA-2F3D0212CBA2}"/>
          </ac:spMkLst>
        </pc:spChg>
        <pc:spChg chg="add mod">
          <ac:chgData name="Lukyanov Vadim RUNO" userId="493ad004-f191-4eab-a86b-fad87d77990f" providerId="ADAL" clId="{2FF5A69F-8954-4CA3-9DF5-6535F5D2BE3B}" dt="2025-03-28T03:15:01.527" v="933" actId="164"/>
          <ac:spMkLst>
            <pc:docMk/>
            <pc:sldMk cId="817666068" sldId="2147480588"/>
            <ac:spMk id="5" creationId="{314DBDFC-356C-9650-74DA-B7E959C4491D}"/>
          </ac:spMkLst>
        </pc:spChg>
        <pc:spChg chg="add mod">
          <ac:chgData name="Lukyanov Vadim RUNO" userId="493ad004-f191-4eab-a86b-fad87d77990f" providerId="ADAL" clId="{2FF5A69F-8954-4CA3-9DF5-6535F5D2BE3B}" dt="2025-03-28T03:15:26.816" v="935" actId="164"/>
          <ac:spMkLst>
            <pc:docMk/>
            <pc:sldMk cId="817666068" sldId="2147480588"/>
            <ac:spMk id="6" creationId="{E17C4575-B908-1FCE-209F-BBCE110E8358}"/>
          </ac:spMkLst>
        </pc:spChg>
        <pc:spChg chg="mod">
          <ac:chgData name="Lukyanov Vadim RUNO" userId="493ad004-f191-4eab-a86b-fad87d77990f" providerId="ADAL" clId="{2FF5A69F-8954-4CA3-9DF5-6535F5D2BE3B}" dt="2025-03-25T08:05:45.832" v="762" actId="1076"/>
          <ac:spMkLst>
            <pc:docMk/>
            <pc:sldMk cId="817666068" sldId="2147480588"/>
            <ac:spMk id="7" creationId="{52AA540B-BA42-D57B-79BA-C3D8DB60CD57}"/>
          </ac:spMkLst>
        </pc:spChg>
        <pc:spChg chg="add mod">
          <ac:chgData name="Lukyanov Vadim RUNO" userId="493ad004-f191-4eab-a86b-fad87d77990f" providerId="ADAL" clId="{2FF5A69F-8954-4CA3-9DF5-6535F5D2BE3B}" dt="2025-03-28T03:15:36.103" v="936" actId="164"/>
          <ac:spMkLst>
            <pc:docMk/>
            <pc:sldMk cId="817666068" sldId="2147480588"/>
            <ac:spMk id="8" creationId="{81B56DB3-557C-2D11-FBC2-61DAA6858C9B}"/>
          </ac:spMkLst>
        </pc:spChg>
        <pc:spChg chg="add mod">
          <ac:chgData name="Lukyanov Vadim RUNO" userId="493ad004-f191-4eab-a86b-fad87d77990f" providerId="ADAL" clId="{2FF5A69F-8954-4CA3-9DF5-6535F5D2BE3B}" dt="2025-03-28T03:15:11.460" v="934" actId="164"/>
          <ac:spMkLst>
            <pc:docMk/>
            <pc:sldMk cId="817666068" sldId="2147480588"/>
            <ac:spMk id="9" creationId="{87CC706E-E346-55F3-7EC3-11381C47A593}"/>
          </ac:spMkLst>
        </pc:spChg>
        <pc:spChg chg="add mod">
          <ac:chgData name="Lukyanov Vadim RUNO" userId="493ad004-f191-4eab-a86b-fad87d77990f" providerId="ADAL" clId="{2FF5A69F-8954-4CA3-9DF5-6535F5D2BE3B}" dt="2025-03-28T03:15:01.527" v="933" actId="164"/>
          <ac:spMkLst>
            <pc:docMk/>
            <pc:sldMk cId="817666068" sldId="2147480588"/>
            <ac:spMk id="10" creationId="{1926951A-3FFC-5057-F99E-8BE38CB16500}"/>
          </ac:spMkLst>
        </pc:spChg>
        <pc:spChg chg="add mod">
          <ac:chgData name="Lukyanov Vadim RUNO" userId="493ad004-f191-4eab-a86b-fad87d77990f" providerId="ADAL" clId="{2FF5A69F-8954-4CA3-9DF5-6535F5D2BE3B}" dt="2025-03-28T03:16:06.208" v="940" actId="164"/>
          <ac:spMkLst>
            <pc:docMk/>
            <pc:sldMk cId="817666068" sldId="2147480588"/>
            <ac:spMk id="11" creationId="{4A9DB2AC-E663-C7B4-E9FE-47DECA73244A}"/>
          </ac:spMkLst>
        </pc:spChg>
        <pc:spChg chg="add mod">
          <ac:chgData name="Lukyanov Vadim RUNO" userId="493ad004-f191-4eab-a86b-fad87d77990f" providerId="ADAL" clId="{2FF5A69F-8954-4CA3-9DF5-6535F5D2BE3B}" dt="2025-03-28T03:15:45.127" v="937" actId="164"/>
          <ac:spMkLst>
            <pc:docMk/>
            <pc:sldMk cId="817666068" sldId="2147480588"/>
            <ac:spMk id="12" creationId="{3CA542A9-7766-8075-8E12-A755DA4FBD66}"/>
          </ac:spMkLst>
        </pc:spChg>
        <pc:spChg chg="add mod">
          <ac:chgData name="Lukyanov Vadim RUNO" userId="493ad004-f191-4eab-a86b-fad87d77990f" providerId="ADAL" clId="{2FF5A69F-8954-4CA3-9DF5-6535F5D2BE3B}" dt="2025-03-28T03:15:36.103" v="936" actId="164"/>
          <ac:spMkLst>
            <pc:docMk/>
            <pc:sldMk cId="817666068" sldId="2147480588"/>
            <ac:spMk id="14" creationId="{088252AB-B1C7-C71A-F905-A04950418BDE}"/>
          </ac:spMkLst>
        </pc:spChg>
        <pc:spChg chg="add mod">
          <ac:chgData name="Lukyanov Vadim RUNO" userId="493ad004-f191-4eab-a86b-fad87d77990f" providerId="ADAL" clId="{2FF5A69F-8954-4CA3-9DF5-6535F5D2BE3B}" dt="2025-03-28T03:15:45.127" v="937" actId="164"/>
          <ac:spMkLst>
            <pc:docMk/>
            <pc:sldMk cId="817666068" sldId="2147480588"/>
            <ac:spMk id="15" creationId="{52DF0DD6-4567-8B59-E9B2-07744BA32B6D}"/>
          </ac:spMkLst>
        </pc:spChg>
        <pc:spChg chg="add mod">
          <ac:chgData name="Lukyanov Vadim RUNO" userId="493ad004-f191-4eab-a86b-fad87d77990f" providerId="ADAL" clId="{2FF5A69F-8954-4CA3-9DF5-6535F5D2BE3B}" dt="2025-03-25T08:25:49.722" v="898" actId="12788"/>
          <ac:spMkLst>
            <pc:docMk/>
            <pc:sldMk cId="817666068" sldId="2147480588"/>
            <ac:spMk id="16" creationId="{2A7D14B0-76BB-3CCC-EE4F-1B86F6E9EFBF}"/>
          </ac:spMkLst>
        </pc:spChg>
        <pc:spChg chg="add mod">
          <ac:chgData name="Lukyanov Vadim RUNO" userId="493ad004-f191-4eab-a86b-fad87d77990f" providerId="ADAL" clId="{2FF5A69F-8954-4CA3-9DF5-6535F5D2BE3B}" dt="2025-03-28T03:16:06.208" v="940" actId="164"/>
          <ac:spMkLst>
            <pc:docMk/>
            <pc:sldMk cId="817666068" sldId="2147480588"/>
            <ac:spMk id="19" creationId="{5D3B2FDF-4A9E-5DAA-E4BB-0386B21ABA83}"/>
          </ac:spMkLst>
        </pc:spChg>
        <pc:spChg chg="add mod">
          <ac:chgData name="Lukyanov Vadim RUNO" userId="493ad004-f191-4eab-a86b-fad87d77990f" providerId="ADAL" clId="{2FF5A69F-8954-4CA3-9DF5-6535F5D2BE3B}" dt="2025-03-28T03:07:01.074" v="932" actId="1076"/>
          <ac:spMkLst>
            <pc:docMk/>
            <pc:sldMk cId="817666068" sldId="2147480588"/>
            <ac:spMk id="20" creationId="{1370AE27-CAD4-9BEC-4DBE-5A1C3BCF0FD6}"/>
          </ac:spMkLst>
        </pc:spChg>
        <pc:spChg chg="add mod">
          <ac:chgData name="Lukyanov Vadim RUNO" userId="493ad004-f191-4eab-a86b-fad87d77990f" providerId="ADAL" clId="{2FF5A69F-8954-4CA3-9DF5-6535F5D2BE3B}" dt="2025-03-28T03:18:30.642" v="959" actId="1076"/>
          <ac:spMkLst>
            <pc:docMk/>
            <pc:sldMk cId="817666068" sldId="2147480588"/>
            <ac:spMk id="25" creationId="{C72FF16B-BEA4-F92D-8BE1-4B825C520FC5}"/>
          </ac:spMkLst>
        </pc:spChg>
        <pc:grpChg chg="add mod">
          <ac:chgData name="Lukyanov Vadim RUNO" userId="493ad004-f191-4eab-a86b-fad87d77990f" providerId="ADAL" clId="{2FF5A69F-8954-4CA3-9DF5-6535F5D2BE3B}" dt="2025-03-28T03:17:07.387" v="948" actId="12788"/>
          <ac:grpSpMkLst>
            <pc:docMk/>
            <pc:sldMk cId="817666068" sldId="2147480588"/>
            <ac:grpSpMk id="23" creationId="{EDEF6B37-584C-6ABA-EC9B-C0DD594A768D}"/>
          </ac:grpSpMkLst>
        </pc:grpChg>
        <pc:grpChg chg="add mod">
          <ac:chgData name="Lukyanov Vadim RUNO" userId="493ad004-f191-4eab-a86b-fad87d77990f" providerId="ADAL" clId="{2FF5A69F-8954-4CA3-9DF5-6535F5D2BE3B}" dt="2025-03-28T03:18:22.717" v="958" actId="1076"/>
          <ac:grpSpMkLst>
            <pc:docMk/>
            <pc:sldMk cId="817666068" sldId="2147480588"/>
            <ac:grpSpMk id="26" creationId="{4DCA37D1-5941-1BDE-027E-33E6291ACC09}"/>
          </ac:grpSpMkLst>
        </pc:grpChg>
        <pc:grpChg chg="add mod">
          <ac:chgData name="Lukyanov Vadim RUNO" userId="493ad004-f191-4eab-a86b-fad87d77990f" providerId="ADAL" clId="{2FF5A69F-8954-4CA3-9DF5-6535F5D2BE3B}" dt="2025-03-28T03:18:06.796" v="956" actId="1076"/>
          <ac:grpSpMkLst>
            <pc:docMk/>
            <pc:sldMk cId="817666068" sldId="2147480588"/>
            <ac:grpSpMk id="28" creationId="{72B84D5B-32CC-13D3-85B9-44BE237EA8AD}"/>
          </ac:grpSpMkLst>
        </pc:grpChg>
        <pc:grpChg chg="add mod">
          <ac:chgData name="Lukyanov Vadim RUNO" userId="493ad004-f191-4eab-a86b-fad87d77990f" providerId="ADAL" clId="{2FF5A69F-8954-4CA3-9DF5-6535F5D2BE3B}" dt="2025-03-28T03:18:15.361" v="957" actId="1076"/>
          <ac:grpSpMkLst>
            <pc:docMk/>
            <pc:sldMk cId="817666068" sldId="2147480588"/>
            <ac:grpSpMk id="30" creationId="{9AED11EA-5862-C654-F1BE-1F7ADB6A1536}"/>
          </ac:grpSpMkLst>
        </pc:grpChg>
        <pc:grpChg chg="add mod">
          <ac:chgData name="Lukyanov Vadim RUNO" userId="493ad004-f191-4eab-a86b-fad87d77990f" providerId="ADAL" clId="{2FF5A69F-8954-4CA3-9DF5-6535F5D2BE3B}" dt="2025-03-28T03:17:57.991" v="955" actId="1076"/>
          <ac:grpSpMkLst>
            <pc:docMk/>
            <pc:sldMk cId="817666068" sldId="2147480588"/>
            <ac:grpSpMk id="32" creationId="{B3EE3FB1-8EBC-4556-FC86-6CFFC6C72BAD}"/>
          </ac:grpSpMkLst>
        </pc:grpChg>
        <pc:grpChg chg="add mod">
          <ac:chgData name="Lukyanov Vadim RUNO" userId="493ad004-f191-4eab-a86b-fad87d77990f" providerId="ADAL" clId="{2FF5A69F-8954-4CA3-9DF5-6535F5D2BE3B}" dt="2025-03-28T03:17:07.387" v="948" actId="12788"/>
          <ac:grpSpMkLst>
            <pc:docMk/>
            <pc:sldMk cId="817666068" sldId="2147480588"/>
            <ac:grpSpMk id="33" creationId="{7165C49B-0ABA-AB1C-C2E9-919849AEC85B}"/>
          </ac:grpSpMkLst>
        </pc:grpChg>
        <pc:picChg chg="add mod">
          <ac:chgData name="Lukyanov Vadim RUNO" userId="493ad004-f191-4eab-a86b-fad87d77990f" providerId="ADAL" clId="{2FF5A69F-8954-4CA3-9DF5-6535F5D2BE3B}" dt="2025-03-28T03:15:26.816" v="935" actId="164"/>
          <ac:picMkLst>
            <pc:docMk/>
            <pc:sldMk cId="817666068" sldId="2147480588"/>
            <ac:picMk id="18" creationId="{390E9D74-FD1D-BB70-EFA2-589449A31217}"/>
          </ac:picMkLst>
        </pc:picChg>
        <pc:picChg chg="add mod">
          <ac:chgData name="Lukyanov Vadim RUNO" userId="493ad004-f191-4eab-a86b-fad87d77990f" providerId="ADAL" clId="{2FF5A69F-8954-4CA3-9DF5-6535F5D2BE3B}" dt="2025-03-28T03:15:11.460" v="934" actId="164"/>
          <ac:picMkLst>
            <pc:docMk/>
            <pc:sldMk cId="817666068" sldId="2147480588"/>
            <ac:picMk id="22" creationId="{BD7170A3-3647-0C94-8EDB-AE6A25C56441}"/>
          </ac:picMkLst>
        </pc:picChg>
        <pc:picChg chg="add mod">
          <ac:chgData name="Lukyanov Vadim RUNO" userId="493ad004-f191-4eab-a86b-fad87d77990f" providerId="ADAL" clId="{2FF5A69F-8954-4CA3-9DF5-6535F5D2BE3B}" dt="2025-03-28T03:15:01.527" v="933" actId="164"/>
          <ac:picMkLst>
            <pc:docMk/>
            <pc:sldMk cId="817666068" sldId="2147480588"/>
            <ac:picMk id="24" creationId="{449FDFC7-3FAA-44F2-2FD8-E67006E42031}"/>
          </ac:picMkLst>
        </pc:picChg>
        <pc:picChg chg="add mod">
          <ac:chgData name="Lukyanov Vadim RUNO" userId="493ad004-f191-4eab-a86b-fad87d77990f" providerId="ADAL" clId="{2FF5A69F-8954-4CA3-9DF5-6535F5D2BE3B}" dt="2025-03-28T02:53:35.631" v="926" actId="1076"/>
          <ac:picMkLst>
            <pc:docMk/>
            <pc:sldMk cId="817666068" sldId="2147480588"/>
            <ac:picMk id="27" creationId="{940D8975-3890-2E83-0840-787EED64CDB3}"/>
          </ac:picMkLst>
        </pc:picChg>
        <pc:picChg chg="add mod">
          <ac:chgData name="Lukyanov Vadim RUNO" userId="493ad004-f191-4eab-a86b-fad87d77990f" providerId="ADAL" clId="{2FF5A69F-8954-4CA3-9DF5-6535F5D2BE3B}" dt="2025-03-28T03:16:06.208" v="940" actId="164"/>
          <ac:picMkLst>
            <pc:docMk/>
            <pc:sldMk cId="817666068" sldId="2147480588"/>
            <ac:picMk id="29" creationId="{6D80BC64-0D29-563A-BA34-D71230C0BD53}"/>
          </ac:picMkLst>
        </pc:picChg>
        <pc:picChg chg="add mod">
          <ac:chgData name="Lukyanov Vadim RUNO" userId="493ad004-f191-4eab-a86b-fad87d77990f" providerId="ADAL" clId="{2FF5A69F-8954-4CA3-9DF5-6535F5D2BE3B}" dt="2025-03-28T03:15:45.127" v="937" actId="164"/>
          <ac:picMkLst>
            <pc:docMk/>
            <pc:sldMk cId="817666068" sldId="2147480588"/>
            <ac:picMk id="31" creationId="{03C2315F-3B92-7FFB-2525-BFDECAD70585}"/>
          </ac:picMkLst>
        </pc:picChg>
      </pc:sldChg>
      <pc:sldChg chg="del">
        <pc:chgData name="Lukyanov Vadim RUNO" userId="493ad004-f191-4eab-a86b-fad87d77990f" providerId="ADAL" clId="{2FF5A69F-8954-4CA3-9DF5-6535F5D2BE3B}" dt="2025-03-25T07:47:41.568" v="192" actId="47"/>
        <pc:sldMkLst>
          <pc:docMk/>
          <pc:sldMk cId="1200941510" sldId="2147480588"/>
        </pc:sldMkLst>
      </pc:sldChg>
      <pc:sldChg chg="del">
        <pc:chgData name="Lukyanov Vadim RUNO" userId="493ad004-f191-4eab-a86b-fad87d77990f" providerId="ADAL" clId="{2FF5A69F-8954-4CA3-9DF5-6535F5D2BE3B}" dt="2025-03-25T07:47:38.565" v="191" actId="47"/>
        <pc:sldMkLst>
          <pc:docMk/>
          <pc:sldMk cId="465319849" sldId="2147480589"/>
        </pc:sldMkLst>
      </pc:sldChg>
      <pc:sldChg chg="add">
        <pc:chgData name="Lukyanov Vadim RUNO" userId="493ad004-f191-4eab-a86b-fad87d77990f" providerId="ADAL" clId="{2FF5A69F-8954-4CA3-9DF5-6535F5D2BE3B}" dt="2025-03-31T03:31:00.581" v="976" actId="2890"/>
        <pc:sldMkLst>
          <pc:docMk/>
          <pc:sldMk cId="3352044024" sldId="2147480589"/>
        </pc:sldMkLst>
      </pc:sldChg>
      <pc:sldChg chg="del">
        <pc:chgData name="Lukyanov Vadim RUNO" userId="493ad004-f191-4eab-a86b-fad87d77990f" providerId="ADAL" clId="{2FF5A69F-8954-4CA3-9DF5-6535F5D2BE3B}" dt="2025-03-25T07:46:35.998" v="178" actId="47"/>
        <pc:sldMkLst>
          <pc:docMk/>
          <pc:sldMk cId="501786112" sldId="2147480590"/>
        </pc:sldMkLst>
      </pc:sldChg>
      <pc:sldChg chg="del">
        <pc:chgData name="Lukyanov Vadim RUNO" userId="493ad004-f191-4eab-a86b-fad87d77990f" providerId="ADAL" clId="{2FF5A69F-8954-4CA3-9DF5-6535F5D2BE3B}" dt="2025-03-25T07:46:35.135" v="177" actId="47"/>
        <pc:sldMkLst>
          <pc:docMk/>
          <pc:sldMk cId="2983258649" sldId="2147480591"/>
        </pc:sldMkLst>
      </pc:sldChg>
      <pc:sldChg chg="del">
        <pc:chgData name="Lukyanov Vadim RUNO" userId="493ad004-f191-4eab-a86b-fad87d77990f" providerId="ADAL" clId="{2FF5A69F-8954-4CA3-9DF5-6535F5D2BE3B}" dt="2025-03-25T07:46:36.674" v="179" actId="47"/>
        <pc:sldMkLst>
          <pc:docMk/>
          <pc:sldMk cId="2010577421" sldId="2147480592"/>
        </pc:sldMkLst>
      </pc:sldChg>
      <pc:sldChg chg="del">
        <pc:chgData name="Lukyanov Vadim RUNO" userId="493ad004-f191-4eab-a86b-fad87d77990f" providerId="ADAL" clId="{2FF5A69F-8954-4CA3-9DF5-6535F5D2BE3B}" dt="2025-03-25T07:46:37.716" v="180" actId="47"/>
        <pc:sldMkLst>
          <pc:docMk/>
          <pc:sldMk cId="181594683" sldId="2147480593"/>
        </pc:sldMkLst>
      </pc:sldChg>
      <pc:sldChg chg="del">
        <pc:chgData name="Lukyanov Vadim RUNO" userId="493ad004-f191-4eab-a86b-fad87d77990f" providerId="ADAL" clId="{2FF5A69F-8954-4CA3-9DF5-6535F5D2BE3B}" dt="2025-03-25T07:46:39.505" v="181" actId="47"/>
        <pc:sldMkLst>
          <pc:docMk/>
          <pc:sldMk cId="2428599940" sldId="2147480594"/>
        </pc:sldMkLst>
      </pc:sldChg>
      <pc:sldChg chg="del">
        <pc:chgData name="Lukyanov Vadim RUNO" userId="493ad004-f191-4eab-a86b-fad87d77990f" providerId="ADAL" clId="{2FF5A69F-8954-4CA3-9DF5-6535F5D2BE3B}" dt="2025-03-25T07:46:40.528" v="182" actId="47"/>
        <pc:sldMkLst>
          <pc:docMk/>
          <pc:sldMk cId="3327522739" sldId="2147480595"/>
        </pc:sldMkLst>
      </pc:sldChg>
      <pc:sldChg chg="del">
        <pc:chgData name="Lukyanov Vadim RUNO" userId="493ad004-f191-4eab-a86b-fad87d77990f" providerId="ADAL" clId="{2FF5A69F-8954-4CA3-9DF5-6535F5D2BE3B}" dt="2025-03-25T07:46:41.408" v="183" actId="47"/>
        <pc:sldMkLst>
          <pc:docMk/>
          <pc:sldMk cId="313105596" sldId="2147480596"/>
        </pc:sldMkLst>
      </pc:sldChg>
      <pc:sldChg chg="del">
        <pc:chgData name="Lukyanov Vadim RUNO" userId="493ad004-f191-4eab-a86b-fad87d77990f" providerId="ADAL" clId="{2FF5A69F-8954-4CA3-9DF5-6535F5D2BE3B}" dt="2025-03-25T07:46:42.367" v="184" actId="47"/>
        <pc:sldMkLst>
          <pc:docMk/>
          <pc:sldMk cId="740769516" sldId="2147480597"/>
        </pc:sldMkLst>
      </pc:sldChg>
      <pc:sldChg chg="del">
        <pc:chgData name="Lukyanov Vadim RUNO" userId="493ad004-f191-4eab-a86b-fad87d77990f" providerId="ADAL" clId="{2FF5A69F-8954-4CA3-9DF5-6535F5D2BE3B}" dt="2025-03-25T07:46:43.226" v="185" actId="47"/>
        <pc:sldMkLst>
          <pc:docMk/>
          <pc:sldMk cId="1476244907" sldId="2147480598"/>
        </pc:sldMkLst>
      </pc:sldChg>
      <pc:sldChg chg="del">
        <pc:chgData name="Lukyanov Vadim RUNO" userId="493ad004-f191-4eab-a86b-fad87d77990f" providerId="ADAL" clId="{2FF5A69F-8954-4CA3-9DF5-6535F5D2BE3B}" dt="2025-03-25T07:46:44.327" v="186" actId="47"/>
        <pc:sldMkLst>
          <pc:docMk/>
          <pc:sldMk cId="3512247894" sldId="2147480599"/>
        </pc:sldMkLst>
      </pc:sldChg>
      <pc:sldChg chg="del">
        <pc:chgData name="Lukyanov Vadim RUNO" userId="493ad004-f191-4eab-a86b-fad87d77990f" providerId="ADAL" clId="{2FF5A69F-8954-4CA3-9DF5-6535F5D2BE3B}" dt="2025-03-25T07:46:44.852" v="187" actId="47"/>
        <pc:sldMkLst>
          <pc:docMk/>
          <pc:sldMk cId="557079317" sldId="2147480600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261865666" sldId="2147480601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1542688989" sldId="2147480602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3222702603" sldId="2147480603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2616746397" sldId="2147480604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707353746" sldId="2147480605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3323192798" sldId="2147480606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1183813572" sldId="2147480607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801701882" sldId="2147480608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1488229414" sldId="2147480609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1074624298" sldId="2147480610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1034549947" sldId="2147480611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277909818" sldId="2147480612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3623751480" sldId="2147480613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3310806247" sldId="2147480614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3563189840" sldId="2147480615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2234885490" sldId="2147480616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2858210624" sldId="2147480617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2159679889" sldId="2147480618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2330636239" sldId="2147480619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3785724282" sldId="2147480620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1698081250" sldId="2147480621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3413916827" sldId="2147480622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2806350956" sldId="2147480623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3309368523" sldId="2147480624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1381480219" sldId="2147480625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2350609039" sldId="2147480626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147187706" sldId="2147480627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1611171277" sldId="2147480628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3473854457" sldId="2147480629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3248695810" sldId="2147480630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1514714763" sldId="2147480631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2874065798" sldId="2147480632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102945578" sldId="2147480633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643071728" sldId="2147480634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2334580345" sldId="2147480635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1716142669" sldId="2147480636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4186485878" sldId="2147480637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20635282" sldId="2147480638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1186907306" sldId="2147480639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3504094604" sldId="2147480640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2096423315" sldId="2147480641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62012984" sldId="2147480642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1327838579" sldId="2147480644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2694526449" sldId="2147480645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2266135696" sldId="2147480646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2278940945" sldId="2147480647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4086281329" sldId="2147480648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1401918836" sldId="2147480649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2450458142" sldId="2147480650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2032239138" sldId="2147480651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3896274556" sldId="2147480652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2697610548" sldId="2147480653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2395476897" sldId="2147480654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4270696268" sldId="2147480655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2148225348" sldId="2147480656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137794303" sldId="2147480657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3680552137" sldId="2147480658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2488041781" sldId="2147480659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4202310732" sldId="2147480660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3390084576" sldId="2147480661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4162747256" sldId="2147480662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3440465786" sldId="2147480663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567213357" sldId="2147480664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1912335477" sldId="2147480665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574066397" sldId="2147480666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3092879864" sldId="2147480667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97155340" sldId="2147480668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514009852" sldId="2147480669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2082158416" sldId="2147480670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3928380455" sldId="2147480671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1023949927" sldId="2147480672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2080380470" sldId="2147480673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736394856" sldId="2147480674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3750761242" sldId="2147480675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0" sldId="2147480676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0" sldId="2147480677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4066844418" sldId="2147480678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906157185" sldId="2147480679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3249969590" sldId="2147480680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2666993969" sldId="2147480681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53502922" sldId="2147480682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1070042888" sldId="2147480683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409411936" sldId="2147480684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2155962848" sldId="2147480685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1942625169" sldId="2147480686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3974663575" sldId="2147480687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2869190800" sldId="2147480688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3722304140" sldId="2147480689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4036676508" sldId="2147480690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578215005" sldId="2147480691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2993230500" sldId="2147480692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3106380613" sldId="2147480693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4000404489" sldId="2147480694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403599669" sldId="2147480695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1776089104" sldId="2147480696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3542999928" sldId="2147480697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0" sldId="2147480698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0" sldId="2147480699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0" sldId="2147480700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0" sldId="2147480701"/>
        </pc:sldMkLst>
      </pc:sldChg>
      <pc:sldChg chg="del">
        <pc:chgData name="Lukyanov Vadim RUNO" userId="493ad004-f191-4eab-a86b-fad87d77990f" providerId="ADAL" clId="{2FF5A69F-8954-4CA3-9DF5-6535F5D2BE3B}" dt="2025-03-25T07:47:00.141" v="188" actId="47"/>
        <pc:sldMkLst>
          <pc:docMk/>
          <pc:sldMk cId="0" sldId="2147480702"/>
        </pc:sldMkLst>
      </pc:sldChg>
      <pc:sldMasterChg chg="del delSldLayout">
        <pc:chgData name="Lukyanov Vadim RUNO" userId="493ad004-f191-4eab-a86b-fad87d77990f" providerId="ADAL" clId="{2FF5A69F-8954-4CA3-9DF5-6535F5D2BE3B}" dt="2025-03-25T07:47:00.141" v="188" actId="47"/>
        <pc:sldMasterMkLst>
          <pc:docMk/>
          <pc:sldMasterMk cId="0" sldId="2147483648"/>
        </pc:sldMasterMkLst>
        <pc:sldLayoutChg chg="del">
          <pc:chgData name="Lukyanov Vadim RUNO" userId="493ad004-f191-4eab-a86b-fad87d77990f" providerId="ADAL" clId="{2FF5A69F-8954-4CA3-9DF5-6535F5D2BE3B}" dt="2025-03-25T07:47:00.141" v="188" actId="47"/>
          <pc:sldLayoutMkLst>
            <pc:docMk/>
            <pc:sldMasterMk cId="0" sldId="2147483648"/>
            <pc:sldLayoutMk cId="0" sldId="2147483661"/>
          </pc:sldLayoutMkLst>
        </pc:sldLayoutChg>
        <pc:sldLayoutChg chg="del">
          <pc:chgData name="Lukyanov Vadim RUNO" userId="493ad004-f191-4eab-a86b-fad87d77990f" providerId="ADAL" clId="{2FF5A69F-8954-4CA3-9DF5-6535F5D2BE3B}" dt="2025-03-25T07:47:00.141" v="188" actId="47"/>
          <pc:sldLayoutMkLst>
            <pc:docMk/>
            <pc:sldMasterMk cId="0" sldId="2147483648"/>
            <pc:sldLayoutMk cId="0" sldId="2147483662"/>
          </pc:sldLayoutMkLst>
        </pc:sldLayoutChg>
        <pc:sldLayoutChg chg="del">
          <pc:chgData name="Lukyanov Vadim RUNO" userId="493ad004-f191-4eab-a86b-fad87d77990f" providerId="ADAL" clId="{2FF5A69F-8954-4CA3-9DF5-6535F5D2BE3B}" dt="2025-03-25T07:47:00.141" v="188" actId="47"/>
          <pc:sldLayoutMkLst>
            <pc:docMk/>
            <pc:sldMasterMk cId="0" sldId="2147483648"/>
            <pc:sldLayoutMk cId="0" sldId="2147483663"/>
          </pc:sldLayoutMkLst>
        </pc:sldLayoutChg>
        <pc:sldLayoutChg chg="del">
          <pc:chgData name="Lukyanov Vadim RUNO" userId="493ad004-f191-4eab-a86b-fad87d77990f" providerId="ADAL" clId="{2FF5A69F-8954-4CA3-9DF5-6535F5D2BE3B}" dt="2025-03-25T07:47:00.141" v="188" actId="47"/>
          <pc:sldLayoutMkLst>
            <pc:docMk/>
            <pc:sldMasterMk cId="0" sldId="2147483648"/>
            <pc:sldLayoutMk cId="0" sldId="2147483664"/>
          </pc:sldLayoutMkLst>
        </pc:sldLayoutChg>
        <pc:sldLayoutChg chg="del">
          <pc:chgData name="Lukyanov Vadim RUNO" userId="493ad004-f191-4eab-a86b-fad87d77990f" providerId="ADAL" clId="{2FF5A69F-8954-4CA3-9DF5-6535F5D2BE3B}" dt="2025-03-25T07:47:00.141" v="188" actId="47"/>
          <pc:sldLayoutMkLst>
            <pc:docMk/>
            <pc:sldMasterMk cId="0" sldId="2147483648"/>
            <pc:sldLayoutMk cId="0" sldId="2147483665"/>
          </pc:sldLayoutMkLst>
        </pc:sldLayoutChg>
        <pc:sldLayoutChg chg="del">
          <pc:chgData name="Lukyanov Vadim RUNO" userId="493ad004-f191-4eab-a86b-fad87d77990f" providerId="ADAL" clId="{2FF5A69F-8954-4CA3-9DF5-6535F5D2BE3B}" dt="2025-03-25T07:45:12.069" v="165" actId="47"/>
          <pc:sldLayoutMkLst>
            <pc:docMk/>
            <pc:sldMasterMk cId="0" sldId="2147483648"/>
            <pc:sldLayoutMk cId="3241050304" sldId="2147483672"/>
          </pc:sldLayoutMkLst>
        </pc:sldLayoutChg>
        <pc:sldLayoutChg chg="del">
          <pc:chgData name="Lukyanov Vadim RUNO" userId="493ad004-f191-4eab-a86b-fad87d77990f" providerId="ADAL" clId="{2FF5A69F-8954-4CA3-9DF5-6535F5D2BE3B}" dt="2025-03-25T07:45:09.866" v="162" actId="47"/>
          <pc:sldLayoutMkLst>
            <pc:docMk/>
            <pc:sldMasterMk cId="0" sldId="2147483648"/>
            <pc:sldLayoutMk cId="2837025079" sldId="2147483673"/>
          </pc:sldLayoutMkLst>
        </pc:sldLayoutChg>
        <pc:sldLayoutChg chg="del">
          <pc:chgData name="Lukyanov Vadim RUNO" userId="493ad004-f191-4eab-a86b-fad87d77990f" providerId="ADAL" clId="{2FF5A69F-8954-4CA3-9DF5-6535F5D2BE3B}" dt="2025-03-25T07:47:00.141" v="188" actId="47"/>
          <pc:sldLayoutMkLst>
            <pc:docMk/>
            <pc:sldMasterMk cId="0" sldId="2147483648"/>
            <pc:sldLayoutMk cId="295008960" sldId="2147483675"/>
          </pc:sldLayoutMkLst>
        </pc:sldLayoutChg>
        <pc:sldLayoutChg chg="del">
          <pc:chgData name="Lukyanov Vadim RUNO" userId="493ad004-f191-4eab-a86b-fad87d77990f" providerId="ADAL" clId="{2FF5A69F-8954-4CA3-9DF5-6535F5D2BE3B}" dt="2025-03-25T07:47:00.141" v="188" actId="47"/>
          <pc:sldLayoutMkLst>
            <pc:docMk/>
            <pc:sldMasterMk cId="0" sldId="2147483648"/>
            <pc:sldLayoutMk cId="308534908" sldId="2147483691"/>
          </pc:sldLayoutMkLst>
        </pc:sldLayoutChg>
      </pc:sldMasterChg>
      <pc:sldMasterChg chg="del delSldLayout">
        <pc:chgData name="Lukyanov Vadim RUNO" userId="493ad004-f191-4eab-a86b-fad87d77990f" providerId="ADAL" clId="{2FF5A69F-8954-4CA3-9DF5-6535F5D2BE3B}" dt="2025-03-25T07:44:54.952" v="149" actId="47"/>
        <pc:sldMasterMkLst>
          <pc:docMk/>
          <pc:sldMasterMk cId="671409344" sldId="2147483755"/>
        </pc:sldMasterMkLst>
        <pc:sldLayoutChg chg="del">
          <pc:chgData name="Lukyanov Vadim RUNO" userId="493ad004-f191-4eab-a86b-fad87d77990f" providerId="ADAL" clId="{2FF5A69F-8954-4CA3-9DF5-6535F5D2BE3B}" dt="2025-03-25T07:44:54.952" v="149" actId="47"/>
          <pc:sldLayoutMkLst>
            <pc:docMk/>
            <pc:sldMasterMk cId="671409344" sldId="2147483755"/>
            <pc:sldLayoutMk cId="2367712556" sldId="2147483756"/>
          </pc:sldLayoutMkLst>
        </pc:sldLayoutChg>
        <pc:sldLayoutChg chg="del">
          <pc:chgData name="Lukyanov Vadim RUNO" userId="493ad004-f191-4eab-a86b-fad87d77990f" providerId="ADAL" clId="{2FF5A69F-8954-4CA3-9DF5-6535F5D2BE3B}" dt="2025-03-25T07:44:54.952" v="149" actId="47"/>
          <pc:sldLayoutMkLst>
            <pc:docMk/>
            <pc:sldMasterMk cId="671409344" sldId="2147483755"/>
            <pc:sldLayoutMk cId="2060320274" sldId="2147483757"/>
          </pc:sldLayoutMkLst>
        </pc:sldLayoutChg>
        <pc:sldLayoutChg chg="del">
          <pc:chgData name="Lukyanov Vadim RUNO" userId="493ad004-f191-4eab-a86b-fad87d77990f" providerId="ADAL" clId="{2FF5A69F-8954-4CA3-9DF5-6535F5D2BE3B}" dt="2025-03-25T07:44:54.952" v="149" actId="47"/>
          <pc:sldLayoutMkLst>
            <pc:docMk/>
            <pc:sldMasterMk cId="671409344" sldId="2147483755"/>
            <pc:sldLayoutMk cId="1041420237" sldId="2147483758"/>
          </pc:sldLayoutMkLst>
        </pc:sldLayoutChg>
        <pc:sldLayoutChg chg="del">
          <pc:chgData name="Lukyanov Vadim RUNO" userId="493ad004-f191-4eab-a86b-fad87d77990f" providerId="ADAL" clId="{2FF5A69F-8954-4CA3-9DF5-6535F5D2BE3B}" dt="2025-03-25T07:44:54.952" v="149" actId="47"/>
          <pc:sldLayoutMkLst>
            <pc:docMk/>
            <pc:sldMasterMk cId="671409344" sldId="2147483755"/>
            <pc:sldLayoutMk cId="152625303" sldId="2147483759"/>
          </pc:sldLayoutMkLst>
        </pc:sldLayoutChg>
        <pc:sldLayoutChg chg="del">
          <pc:chgData name="Lukyanov Vadim RUNO" userId="493ad004-f191-4eab-a86b-fad87d77990f" providerId="ADAL" clId="{2FF5A69F-8954-4CA3-9DF5-6535F5D2BE3B}" dt="2025-03-25T07:44:54.952" v="149" actId="47"/>
          <pc:sldLayoutMkLst>
            <pc:docMk/>
            <pc:sldMasterMk cId="671409344" sldId="2147483755"/>
            <pc:sldLayoutMk cId="2693109915" sldId="2147483760"/>
          </pc:sldLayoutMkLst>
        </pc:sldLayoutChg>
      </pc:sldMasterChg>
      <pc:sldMasterChg chg="del delSldLayout">
        <pc:chgData name="Lukyanov Vadim RUNO" userId="493ad004-f191-4eab-a86b-fad87d77990f" providerId="ADAL" clId="{2FF5A69F-8954-4CA3-9DF5-6535F5D2BE3B}" dt="2025-03-25T07:47:00.141" v="188" actId="47"/>
        <pc:sldMasterMkLst>
          <pc:docMk/>
          <pc:sldMasterMk cId="631448300" sldId="2147483761"/>
        </pc:sldMasterMkLst>
        <pc:sldLayoutChg chg="del">
          <pc:chgData name="Lukyanov Vadim RUNO" userId="493ad004-f191-4eab-a86b-fad87d77990f" providerId="ADAL" clId="{2FF5A69F-8954-4CA3-9DF5-6535F5D2BE3B}" dt="2025-03-25T07:47:00.141" v="188" actId="47"/>
          <pc:sldLayoutMkLst>
            <pc:docMk/>
            <pc:sldMasterMk cId="631448300" sldId="2147483761"/>
            <pc:sldLayoutMk cId="1762759232" sldId="2147483762"/>
          </pc:sldLayoutMkLst>
        </pc:sldLayoutChg>
        <pc:sldLayoutChg chg="del">
          <pc:chgData name="Lukyanov Vadim RUNO" userId="493ad004-f191-4eab-a86b-fad87d77990f" providerId="ADAL" clId="{2FF5A69F-8954-4CA3-9DF5-6535F5D2BE3B}" dt="2025-03-25T07:47:00.141" v="188" actId="47"/>
          <pc:sldLayoutMkLst>
            <pc:docMk/>
            <pc:sldMasterMk cId="631448300" sldId="2147483761"/>
            <pc:sldLayoutMk cId="3230495051" sldId="2147483763"/>
          </pc:sldLayoutMkLst>
        </pc:sldLayoutChg>
        <pc:sldLayoutChg chg="del">
          <pc:chgData name="Lukyanov Vadim RUNO" userId="493ad004-f191-4eab-a86b-fad87d77990f" providerId="ADAL" clId="{2FF5A69F-8954-4CA3-9DF5-6535F5D2BE3B}" dt="2025-03-25T07:47:00.141" v="188" actId="47"/>
          <pc:sldLayoutMkLst>
            <pc:docMk/>
            <pc:sldMasterMk cId="631448300" sldId="2147483761"/>
            <pc:sldLayoutMk cId="586523245" sldId="2147483764"/>
          </pc:sldLayoutMkLst>
        </pc:sldLayoutChg>
        <pc:sldLayoutChg chg="del">
          <pc:chgData name="Lukyanov Vadim RUNO" userId="493ad004-f191-4eab-a86b-fad87d77990f" providerId="ADAL" clId="{2FF5A69F-8954-4CA3-9DF5-6535F5D2BE3B}" dt="2025-03-25T07:47:00.141" v="188" actId="47"/>
          <pc:sldLayoutMkLst>
            <pc:docMk/>
            <pc:sldMasterMk cId="631448300" sldId="2147483761"/>
            <pc:sldLayoutMk cId="2919336712" sldId="2147483765"/>
          </pc:sldLayoutMkLst>
        </pc:sldLayoutChg>
        <pc:sldLayoutChg chg="del">
          <pc:chgData name="Lukyanov Vadim RUNO" userId="493ad004-f191-4eab-a86b-fad87d77990f" providerId="ADAL" clId="{2FF5A69F-8954-4CA3-9DF5-6535F5D2BE3B}" dt="2025-03-25T07:47:00.141" v="188" actId="47"/>
          <pc:sldLayoutMkLst>
            <pc:docMk/>
            <pc:sldMasterMk cId="631448300" sldId="2147483761"/>
            <pc:sldLayoutMk cId="1007269907" sldId="2147483766"/>
          </pc:sldLayoutMkLst>
        </pc:sldLayoutChg>
      </pc:sldMasterChg>
      <pc:sldMasterChg chg="del delSldLayout">
        <pc:chgData name="Lukyanov Vadim RUNO" userId="493ad004-f191-4eab-a86b-fad87d77990f" providerId="ADAL" clId="{2FF5A69F-8954-4CA3-9DF5-6535F5D2BE3B}" dt="2025-03-25T07:47:00.141" v="188" actId="47"/>
        <pc:sldMasterMkLst>
          <pc:docMk/>
          <pc:sldMasterMk cId="2895134349" sldId="2147483767"/>
        </pc:sldMasterMkLst>
        <pc:sldLayoutChg chg="del">
          <pc:chgData name="Lukyanov Vadim RUNO" userId="493ad004-f191-4eab-a86b-fad87d77990f" providerId="ADAL" clId="{2FF5A69F-8954-4CA3-9DF5-6535F5D2BE3B}" dt="2025-03-25T07:47:00.141" v="188" actId="47"/>
          <pc:sldLayoutMkLst>
            <pc:docMk/>
            <pc:sldMasterMk cId="2895134349" sldId="2147483767"/>
            <pc:sldLayoutMk cId="3672413296" sldId="2147483768"/>
          </pc:sldLayoutMkLst>
        </pc:sldLayoutChg>
        <pc:sldLayoutChg chg="del">
          <pc:chgData name="Lukyanov Vadim RUNO" userId="493ad004-f191-4eab-a86b-fad87d77990f" providerId="ADAL" clId="{2FF5A69F-8954-4CA3-9DF5-6535F5D2BE3B}" dt="2025-03-25T07:47:00.141" v="188" actId="47"/>
          <pc:sldLayoutMkLst>
            <pc:docMk/>
            <pc:sldMasterMk cId="2895134349" sldId="2147483767"/>
            <pc:sldLayoutMk cId="2788388754" sldId="2147483769"/>
          </pc:sldLayoutMkLst>
        </pc:sldLayoutChg>
        <pc:sldLayoutChg chg="del">
          <pc:chgData name="Lukyanov Vadim RUNO" userId="493ad004-f191-4eab-a86b-fad87d77990f" providerId="ADAL" clId="{2FF5A69F-8954-4CA3-9DF5-6535F5D2BE3B}" dt="2025-03-25T07:47:00.141" v="188" actId="47"/>
          <pc:sldLayoutMkLst>
            <pc:docMk/>
            <pc:sldMasterMk cId="2895134349" sldId="2147483767"/>
            <pc:sldLayoutMk cId="1899215899" sldId="2147483770"/>
          </pc:sldLayoutMkLst>
        </pc:sldLayoutChg>
        <pc:sldLayoutChg chg="del">
          <pc:chgData name="Lukyanov Vadim RUNO" userId="493ad004-f191-4eab-a86b-fad87d77990f" providerId="ADAL" clId="{2FF5A69F-8954-4CA3-9DF5-6535F5D2BE3B}" dt="2025-03-25T07:47:00.141" v="188" actId="47"/>
          <pc:sldLayoutMkLst>
            <pc:docMk/>
            <pc:sldMasterMk cId="2895134349" sldId="2147483767"/>
            <pc:sldLayoutMk cId="2945620213" sldId="2147483771"/>
          </pc:sldLayoutMkLst>
        </pc:sldLayoutChg>
        <pc:sldLayoutChg chg="del">
          <pc:chgData name="Lukyanov Vadim RUNO" userId="493ad004-f191-4eab-a86b-fad87d77990f" providerId="ADAL" clId="{2FF5A69F-8954-4CA3-9DF5-6535F5D2BE3B}" dt="2025-03-25T07:47:00.141" v="188" actId="47"/>
          <pc:sldLayoutMkLst>
            <pc:docMk/>
            <pc:sldMasterMk cId="2895134349" sldId="2147483767"/>
            <pc:sldLayoutMk cId="1960257501" sldId="2147483772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6905625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B21878D-6CE7-4FEE-8666-104FC707B326}" type="datetimeFigureOut">
              <a:rPr lang="ru-RU" smtClean="0"/>
              <a:t>03.04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EC7710-221B-47B2-ADDF-BA9151D312E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784030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B4774C-E0E2-3A96-629B-D1279F753F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290BC07A-1194-7B1F-D23D-C07A45F9D7E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5342B8DE-A700-DBAA-8CC6-80A21AB9484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Проверь названия этапов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196E1738-9189-2568-54BD-8F6581AF020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EC7710-221B-47B2-ADDF-BA9151D312E7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84495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CBCA35-3C44-D16B-14C0-4DC50DDFFB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D5FB218E-7311-D04F-6C7F-49CFCB42F9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9FA322A9-2114-7BFA-EFB7-CFFB16FABCC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Проверь названия этапов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151729D8-B5D2-FDCC-F0B3-85AC3691E00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EC7710-221B-47B2-ADDF-BA9151D312E7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4881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F0F9B4-DAD2-52C9-910E-2B163BC63B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177D79EC-6E99-C0BC-9FC2-753F6C24DAA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2D0868F9-E9A0-BC0E-5E2C-763911DF33C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Проверь названия этапов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A131D202-1DDE-4AB1-0440-E31F5DE08E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EC7710-221B-47B2-ADDF-BA9151D312E7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72845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F5824C-90AE-8E99-95E6-CC26D9CE73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8F7ACBD1-5ACC-18B8-E899-379D6627495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C9129EA9-444E-0F6D-9436-FC57C6F6C55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Проверь названия этапов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AA73C2C6-32A0-EA54-D12C-9C8DE101BF0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EC7710-221B-47B2-ADDF-BA9151D312E7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99966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763F0B-EE32-02E9-933F-03DECB5581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D194B971-153B-D1F7-0B87-A4B9AB8BD6A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07E29848-FB41-4A26-1F42-98D50308F17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Проверь названия этапов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44D86BB7-AFD9-4CFE-BDF1-40DF6437FE5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EC7710-221B-47B2-ADDF-BA9151D312E7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72919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AD7524-3838-9485-78C5-A12266E4D0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C20D4759-A338-B72E-C37F-7CD39A6A5D3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30DDCA22-5DF4-732D-4DD1-AA90D7E1EC4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Проверь названия этапов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AAF00FC5-49F4-11A5-FBAA-759B6C9142F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EC7710-221B-47B2-ADDF-BA9151D312E7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65920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4910C9-6C9D-F7DD-6E42-91317C79C4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BFB46C78-ED03-98D7-4847-BCC6643A35F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DAE1F1EE-C0FD-F8A3-A45D-2DCF6C508FC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Проверь названия этапов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422364E4-25DC-ABAA-F520-61D338A8DA2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EC7710-221B-47B2-ADDF-BA9151D312E7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97708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3.jp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sv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4"/>
          <p:cNvSpPr/>
          <p:nvPr userDrawn="1"/>
        </p:nvSpPr>
        <p:spPr bwMode="gray">
          <a:xfrm>
            <a:off x="10857433" y="9229"/>
            <a:ext cx="1335735" cy="684877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5" name="Freeform 6"/>
          <p:cNvSpPr>
            <a:spLocks noEditPoints="1"/>
          </p:cNvSpPr>
          <p:nvPr userDrawn="1"/>
        </p:nvSpPr>
        <p:spPr bwMode="gray">
          <a:xfrm>
            <a:off x="10863484" y="625789"/>
            <a:ext cx="1282552" cy="5945801"/>
          </a:xfrm>
          <a:custGeom>
            <a:avLst/>
            <a:gdLst>
              <a:gd name="T0" fmla="*/ 246 w 404"/>
              <a:gd name="T1" fmla="*/ 1196 h 1884"/>
              <a:gd name="T2" fmla="*/ 220 w 404"/>
              <a:gd name="T3" fmla="*/ 1280 h 1884"/>
              <a:gd name="T4" fmla="*/ 146 w 404"/>
              <a:gd name="T5" fmla="*/ 1336 h 1884"/>
              <a:gd name="T6" fmla="*/ 0 w 404"/>
              <a:gd name="T7" fmla="*/ 1385 h 1884"/>
              <a:gd name="T8" fmla="*/ 0 w 404"/>
              <a:gd name="T9" fmla="*/ 1451 h 1884"/>
              <a:gd name="T10" fmla="*/ 201 w 404"/>
              <a:gd name="T11" fmla="*/ 1350 h 1884"/>
              <a:gd name="T12" fmla="*/ 252 w 404"/>
              <a:gd name="T13" fmla="*/ 1236 h 1884"/>
              <a:gd name="T14" fmla="*/ 246 w 404"/>
              <a:gd name="T15" fmla="*/ 1196 h 1884"/>
              <a:gd name="T16" fmla="*/ 0 w 404"/>
              <a:gd name="T17" fmla="*/ 0 h 1884"/>
              <a:gd name="T18" fmla="*/ 0 w 404"/>
              <a:gd name="T19" fmla="*/ 257 h 1884"/>
              <a:gd name="T20" fmla="*/ 312 w 404"/>
              <a:gd name="T21" fmla="*/ 1053 h 1884"/>
              <a:gd name="T22" fmla="*/ 321 w 404"/>
              <a:gd name="T23" fmla="*/ 1200 h 1884"/>
              <a:gd name="T24" fmla="*/ 167 w 404"/>
              <a:gd name="T25" fmla="*/ 1662 h 1884"/>
              <a:gd name="T26" fmla="*/ 0 w 404"/>
              <a:gd name="T27" fmla="*/ 1794 h 1884"/>
              <a:gd name="T28" fmla="*/ 0 w 404"/>
              <a:gd name="T29" fmla="*/ 1884 h 1884"/>
              <a:gd name="T30" fmla="*/ 77 w 404"/>
              <a:gd name="T31" fmla="*/ 1845 h 1884"/>
              <a:gd name="T32" fmla="*/ 375 w 404"/>
              <a:gd name="T33" fmla="*/ 1427 h 1884"/>
              <a:gd name="T34" fmla="*/ 404 w 404"/>
              <a:gd name="T35" fmla="*/ 1179 h 1884"/>
              <a:gd name="T36" fmla="*/ 398 w 404"/>
              <a:gd name="T37" fmla="*/ 1059 h 1884"/>
              <a:gd name="T38" fmla="*/ 399 w 404"/>
              <a:gd name="T39" fmla="*/ 1059 h 1884"/>
              <a:gd name="T40" fmla="*/ 398 w 404"/>
              <a:gd name="T41" fmla="*/ 1059 h 1884"/>
              <a:gd name="T42" fmla="*/ 0 w 404"/>
              <a:gd name="T43" fmla="*/ 0 h 1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404" h="1884">
                <a:moveTo>
                  <a:pt x="246" y="1196"/>
                </a:moveTo>
                <a:cubicBezTo>
                  <a:pt x="246" y="1230"/>
                  <a:pt x="237" y="1258"/>
                  <a:pt x="220" y="1280"/>
                </a:cubicBezTo>
                <a:cubicBezTo>
                  <a:pt x="203" y="1303"/>
                  <a:pt x="178" y="1321"/>
                  <a:pt x="146" y="1336"/>
                </a:cubicBezTo>
                <a:cubicBezTo>
                  <a:pt x="107" y="1355"/>
                  <a:pt x="57" y="1370"/>
                  <a:pt x="0" y="1385"/>
                </a:cubicBezTo>
                <a:cubicBezTo>
                  <a:pt x="0" y="1451"/>
                  <a:pt x="0" y="1451"/>
                  <a:pt x="0" y="1451"/>
                </a:cubicBezTo>
                <a:cubicBezTo>
                  <a:pt x="101" y="1423"/>
                  <a:pt x="163" y="1387"/>
                  <a:pt x="201" y="1350"/>
                </a:cubicBezTo>
                <a:cubicBezTo>
                  <a:pt x="240" y="1310"/>
                  <a:pt x="252" y="1270"/>
                  <a:pt x="252" y="1236"/>
                </a:cubicBezTo>
                <a:cubicBezTo>
                  <a:pt x="252" y="1221"/>
                  <a:pt x="250" y="1208"/>
                  <a:pt x="246" y="1196"/>
                </a:cubicBezTo>
                <a:moveTo>
                  <a:pt x="0" y="0"/>
                </a:moveTo>
                <a:cubicBezTo>
                  <a:pt x="0" y="257"/>
                  <a:pt x="0" y="257"/>
                  <a:pt x="0" y="257"/>
                </a:cubicBezTo>
                <a:cubicBezTo>
                  <a:pt x="155" y="529"/>
                  <a:pt x="283" y="818"/>
                  <a:pt x="312" y="1053"/>
                </a:cubicBezTo>
                <a:cubicBezTo>
                  <a:pt x="318" y="1105"/>
                  <a:pt x="321" y="1154"/>
                  <a:pt x="321" y="1200"/>
                </a:cubicBezTo>
                <a:cubicBezTo>
                  <a:pt x="321" y="1417"/>
                  <a:pt x="253" y="1563"/>
                  <a:pt x="167" y="1662"/>
                </a:cubicBezTo>
                <a:cubicBezTo>
                  <a:pt x="114" y="1722"/>
                  <a:pt x="55" y="1764"/>
                  <a:pt x="0" y="1794"/>
                </a:cubicBezTo>
                <a:cubicBezTo>
                  <a:pt x="0" y="1884"/>
                  <a:pt x="0" y="1884"/>
                  <a:pt x="0" y="1884"/>
                </a:cubicBezTo>
                <a:cubicBezTo>
                  <a:pt x="27" y="1873"/>
                  <a:pt x="52" y="1861"/>
                  <a:pt x="77" y="1845"/>
                </a:cubicBezTo>
                <a:cubicBezTo>
                  <a:pt x="172" y="1785"/>
                  <a:pt x="326" y="1632"/>
                  <a:pt x="375" y="1427"/>
                </a:cubicBezTo>
                <a:cubicBezTo>
                  <a:pt x="393" y="1355"/>
                  <a:pt x="404" y="1273"/>
                  <a:pt x="404" y="1179"/>
                </a:cubicBezTo>
                <a:cubicBezTo>
                  <a:pt x="404" y="1141"/>
                  <a:pt x="402" y="1101"/>
                  <a:pt x="398" y="1059"/>
                </a:cubicBezTo>
                <a:cubicBezTo>
                  <a:pt x="399" y="1059"/>
                  <a:pt x="399" y="1059"/>
                  <a:pt x="399" y="1059"/>
                </a:cubicBezTo>
                <a:cubicBezTo>
                  <a:pt x="398" y="1059"/>
                  <a:pt x="398" y="1059"/>
                  <a:pt x="398" y="1059"/>
                </a:cubicBezTo>
                <a:cubicBezTo>
                  <a:pt x="369" y="740"/>
                  <a:pt x="187" y="339"/>
                  <a:pt x="0" y="0"/>
                </a:cubicBezTo>
              </a:path>
            </a:pathLst>
          </a:custGeom>
          <a:gradFill>
            <a:gsLst>
              <a:gs pos="8000">
                <a:schemeClr val="accent1">
                  <a:lumMod val="75000"/>
                  <a:alpha val="40000"/>
                </a:schemeClr>
              </a:gs>
              <a:gs pos="42000">
                <a:schemeClr val="accent1">
                  <a:lumMod val="75000"/>
                  <a:alpha val="40000"/>
                </a:schemeClr>
              </a:gs>
              <a:gs pos="88000">
                <a:schemeClr val="accent1">
                  <a:lumMod val="75000"/>
                  <a:alpha val="40000"/>
                </a:schemeClr>
              </a:gs>
            </a:gsLst>
            <a:lin ang="3300000" scaled="0"/>
          </a:gra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360620" y="1589108"/>
            <a:ext cx="8801101" cy="2025968"/>
          </a:xfrm>
        </p:spPr>
        <p:txBody>
          <a:bodyPr anchor="b">
            <a:normAutofit/>
          </a:bodyPr>
          <a:lstStyle>
            <a:lvl1pPr algn="l">
              <a:lnSpc>
                <a:spcPts val="6933"/>
              </a:lnSpc>
              <a:defRPr sz="6667" b="0" cap="none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360620" y="3836061"/>
            <a:ext cx="8801101" cy="615553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None/>
              <a:defRPr sz="2667" b="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subtitle style</a:t>
            </a:r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gray">
          <a:xfrm>
            <a:off x="10409376" y="2"/>
            <a:ext cx="1792817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33" name="Rectangle 65"/>
          <p:cNvSpPr/>
          <p:nvPr userDrawn="1"/>
        </p:nvSpPr>
        <p:spPr bwMode="gray">
          <a:xfrm>
            <a:off x="12384649" y="-2288117"/>
            <a:ext cx="2208000" cy="4754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 anchorCtr="0">
            <a:spAutoFit/>
          </a:bodyPr>
          <a:lstStyle/>
          <a:p>
            <a:pPr algn="l"/>
            <a:endParaRPr lang="en-US" sz="1200" b="0">
              <a:solidFill>
                <a:schemeClr val="bg1"/>
              </a:solidFill>
            </a:endParaRPr>
          </a:p>
        </p:txBody>
      </p:sp>
      <p:sp>
        <p:nvSpPr>
          <p:cNvPr id="32" name="Rectangle 10"/>
          <p:cNvSpPr>
            <a:spLocks noChangeArrowheads="1"/>
          </p:cNvSpPr>
          <p:nvPr userDrawn="1"/>
        </p:nvSpPr>
        <p:spPr bwMode="gray">
          <a:xfrm>
            <a:off x="-1" y="5079435"/>
            <a:ext cx="12192001" cy="887599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34" name="Rectangle 5"/>
          <p:cNvSpPr>
            <a:spLocks noChangeArrowheads="1"/>
          </p:cNvSpPr>
          <p:nvPr userDrawn="1"/>
        </p:nvSpPr>
        <p:spPr bwMode="gray">
          <a:xfrm>
            <a:off x="10846338" y="9229"/>
            <a:ext cx="1342492" cy="68487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35" name="Freeform 49"/>
          <p:cNvSpPr>
            <a:spLocks/>
          </p:cNvSpPr>
          <p:nvPr userDrawn="1"/>
        </p:nvSpPr>
        <p:spPr bwMode="gray">
          <a:xfrm>
            <a:off x="10857432" y="5079634"/>
            <a:ext cx="1334568" cy="887599"/>
          </a:xfrm>
          <a:custGeom>
            <a:avLst/>
            <a:gdLst>
              <a:gd name="T0" fmla="*/ 0 w 4568"/>
              <a:gd name="T1" fmla="*/ 0 h 2670"/>
              <a:gd name="T2" fmla="*/ 0 w 4568"/>
              <a:gd name="T3" fmla="*/ 2670 h 2670"/>
              <a:gd name="T4" fmla="*/ 4568 w 4568"/>
              <a:gd name="T5" fmla="*/ 2670 h 2670"/>
              <a:gd name="T6" fmla="*/ 4568 w 4568"/>
              <a:gd name="T7" fmla="*/ 0 h 2670"/>
              <a:gd name="T8" fmla="*/ 0 w 4568"/>
              <a:gd name="T9" fmla="*/ 0 h 2670"/>
              <a:gd name="T10" fmla="*/ 0 w 4568"/>
              <a:gd name="T11" fmla="*/ 0 h 26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568" h="2670">
                <a:moveTo>
                  <a:pt x="0" y="0"/>
                </a:moveTo>
                <a:lnTo>
                  <a:pt x="0" y="2670"/>
                </a:lnTo>
                <a:lnTo>
                  <a:pt x="4568" y="2670"/>
                </a:lnTo>
                <a:lnTo>
                  <a:pt x="4568" y="0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grpSp>
        <p:nvGrpSpPr>
          <p:cNvPr id="36" name="Group 15"/>
          <p:cNvGrpSpPr/>
          <p:nvPr userDrawn="1"/>
        </p:nvGrpSpPr>
        <p:grpSpPr bwMode="gray">
          <a:xfrm>
            <a:off x="11054940" y="5441322"/>
            <a:ext cx="936632" cy="263828"/>
            <a:chOff x="2024063" y="2676525"/>
            <a:chExt cx="5111750" cy="1439863"/>
          </a:xfrm>
        </p:grpSpPr>
        <p:sp>
          <p:nvSpPr>
            <p:cNvPr id="37" name="Line 50"/>
            <p:cNvSpPr>
              <a:spLocks noChangeShapeType="1"/>
            </p:cNvSpPr>
            <p:nvPr/>
          </p:nvSpPr>
          <p:spPr bwMode="gray">
            <a:xfrm>
              <a:off x="2203450" y="3767138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8" name="Line 51"/>
            <p:cNvSpPr>
              <a:spLocks noChangeShapeType="1"/>
            </p:cNvSpPr>
            <p:nvPr/>
          </p:nvSpPr>
          <p:spPr bwMode="gray">
            <a:xfrm>
              <a:off x="2203450" y="3767138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9" name="Freeform 52"/>
            <p:cNvSpPr>
              <a:spLocks/>
            </p:cNvSpPr>
            <p:nvPr/>
          </p:nvSpPr>
          <p:spPr bwMode="gray">
            <a:xfrm>
              <a:off x="5810250" y="3003550"/>
              <a:ext cx="442913" cy="793750"/>
            </a:xfrm>
            <a:custGeom>
              <a:avLst/>
              <a:gdLst>
                <a:gd name="T0" fmla="*/ 118 w 118"/>
                <a:gd name="T1" fmla="*/ 80 h 211"/>
                <a:gd name="T2" fmla="*/ 74 w 118"/>
                <a:gd name="T3" fmla="*/ 80 h 211"/>
                <a:gd name="T4" fmla="*/ 74 w 118"/>
                <a:gd name="T5" fmla="*/ 152 h 211"/>
                <a:gd name="T6" fmla="*/ 99 w 118"/>
                <a:gd name="T7" fmla="*/ 176 h 211"/>
                <a:gd name="T8" fmla="*/ 114 w 118"/>
                <a:gd name="T9" fmla="*/ 175 h 211"/>
                <a:gd name="T10" fmla="*/ 118 w 118"/>
                <a:gd name="T11" fmla="*/ 207 h 211"/>
                <a:gd name="T12" fmla="*/ 81 w 118"/>
                <a:gd name="T13" fmla="*/ 211 h 211"/>
                <a:gd name="T14" fmla="*/ 25 w 118"/>
                <a:gd name="T15" fmla="*/ 164 h 211"/>
                <a:gd name="T16" fmla="*/ 25 w 118"/>
                <a:gd name="T17" fmla="*/ 80 h 211"/>
                <a:gd name="T18" fmla="*/ 0 w 118"/>
                <a:gd name="T19" fmla="*/ 80 h 211"/>
                <a:gd name="T20" fmla="*/ 0 w 118"/>
                <a:gd name="T21" fmla="*/ 49 h 211"/>
                <a:gd name="T22" fmla="*/ 25 w 118"/>
                <a:gd name="T23" fmla="*/ 49 h 211"/>
                <a:gd name="T24" fmla="*/ 25 w 118"/>
                <a:gd name="T25" fmla="*/ 14 h 211"/>
                <a:gd name="T26" fmla="*/ 74 w 118"/>
                <a:gd name="T27" fmla="*/ 0 h 211"/>
                <a:gd name="T28" fmla="*/ 74 w 118"/>
                <a:gd name="T29" fmla="*/ 49 h 211"/>
                <a:gd name="T30" fmla="*/ 118 w 118"/>
                <a:gd name="T31" fmla="*/ 49 h 211"/>
                <a:gd name="T32" fmla="*/ 118 w 118"/>
                <a:gd name="T33" fmla="*/ 8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8" h="211">
                  <a:moveTo>
                    <a:pt x="118" y="80"/>
                  </a:moveTo>
                  <a:cubicBezTo>
                    <a:pt x="74" y="80"/>
                    <a:pt x="74" y="80"/>
                    <a:pt x="74" y="80"/>
                  </a:cubicBezTo>
                  <a:cubicBezTo>
                    <a:pt x="74" y="152"/>
                    <a:pt x="74" y="152"/>
                    <a:pt x="74" y="152"/>
                  </a:cubicBezTo>
                  <a:cubicBezTo>
                    <a:pt x="74" y="173"/>
                    <a:pt x="85" y="176"/>
                    <a:pt x="99" y="176"/>
                  </a:cubicBezTo>
                  <a:cubicBezTo>
                    <a:pt x="104" y="176"/>
                    <a:pt x="109" y="176"/>
                    <a:pt x="114" y="175"/>
                  </a:cubicBezTo>
                  <a:cubicBezTo>
                    <a:pt x="118" y="207"/>
                    <a:pt x="118" y="207"/>
                    <a:pt x="118" y="207"/>
                  </a:cubicBezTo>
                  <a:cubicBezTo>
                    <a:pt x="106" y="209"/>
                    <a:pt x="91" y="211"/>
                    <a:pt x="81" y="211"/>
                  </a:cubicBezTo>
                  <a:cubicBezTo>
                    <a:pt x="51" y="211"/>
                    <a:pt x="25" y="201"/>
                    <a:pt x="25" y="16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4" y="49"/>
                    <a:pt x="74" y="49"/>
                    <a:pt x="74" y="49"/>
                  </a:cubicBezTo>
                  <a:cubicBezTo>
                    <a:pt x="118" y="49"/>
                    <a:pt x="118" y="49"/>
                    <a:pt x="118" y="49"/>
                  </a:cubicBezTo>
                  <a:lnTo>
                    <a:pt x="118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0" name="Freeform 53"/>
            <p:cNvSpPr>
              <a:spLocks/>
            </p:cNvSpPr>
            <p:nvPr/>
          </p:nvSpPr>
          <p:spPr bwMode="gray">
            <a:xfrm>
              <a:off x="5178425" y="3173413"/>
              <a:ext cx="574675" cy="612775"/>
            </a:xfrm>
            <a:custGeom>
              <a:avLst/>
              <a:gdLst>
                <a:gd name="T0" fmla="*/ 153 w 153"/>
                <a:gd name="T1" fmla="*/ 163 h 163"/>
                <a:gd name="T2" fmla="*/ 103 w 153"/>
                <a:gd name="T3" fmla="*/ 163 h 163"/>
                <a:gd name="T4" fmla="*/ 103 w 153"/>
                <a:gd name="T5" fmla="*/ 61 h 163"/>
                <a:gd name="T6" fmla="*/ 80 w 153"/>
                <a:gd name="T7" fmla="*/ 37 h 163"/>
                <a:gd name="T8" fmla="*/ 50 w 153"/>
                <a:gd name="T9" fmla="*/ 51 h 163"/>
                <a:gd name="T10" fmla="*/ 50 w 153"/>
                <a:gd name="T11" fmla="*/ 163 h 163"/>
                <a:gd name="T12" fmla="*/ 0 w 153"/>
                <a:gd name="T13" fmla="*/ 163 h 163"/>
                <a:gd name="T14" fmla="*/ 0 w 153"/>
                <a:gd name="T15" fmla="*/ 4 h 163"/>
                <a:gd name="T16" fmla="*/ 48 w 153"/>
                <a:gd name="T17" fmla="*/ 4 h 163"/>
                <a:gd name="T18" fmla="*/ 48 w 153"/>
                <a:gd name="T19" fmla="*/ 18 h 163"/>
                <a:gd name="T20" fmla="*/ 103 w 153"/>
                <a:gd name="T21" fmla="*/ 0 h 163"/>
                <a:gd name="T22" fmla="*/ 153 w 153"/>
                <a:gd name="T23" fmla="*/ 49 h 163"/>
                <a:gd name="T24" fmla="*/ 153 w 153"/>
                <a:gd name="T2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3" h="163">
                  <a:moveTo>
                    <a:pt x="153" y="163"/>
                  </a:moveTo>
                  <a:cubicBezTo>
                    <a:pt x="103" y="163"/>
                    <a:pt x="103" y="163"/>
                    <a:pt x="103" y="163"/>
                  </a:cubicBezTo>
                  <a:cubicBezTo>
                    <a:pt x="103" y="61"/>
                    <a:pt x="103" y="61"/>
                    <a:pt x="103" y="61"/>
                  </a:cubicBezTo>
                  <a:cubicBezTo>
                    <a:pt x="103" y="46"/>
                    <a:pt x="97" y="37"/>
                    <a:pt x="80" y="37"/>
                  </a:cubicBezTo>
                  <a:cubicBezTo>
                    <a:pt x="67" y="37"/>
                    <a:pt x="59" y="43"/>
                    <a:pt x="50" y="51"/>
                  </a:cubicBezTo>
                  <a:cubicBezTo>
                    <a:pt x="50" y="163"/>
                    <a:pt x="50" y="163"/>
                    <a:pt x="50" y="163"/>
                  </a:cubicBezTo>
                  <a:cubicBezTo>
                    <a:pt x="0" y="163"/>
                    <a:pt x="0" y="163"/>
                    <a:pt x="0" y="16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64" y="7"/>
                    <a:pt x="83" y="0"/>
                    <a:pt x="103" y="0"/>
                  </a:cubicBezTo>
                  <a:cubicBezTo>
                    <a:pt x="134" y="0"/>
                    <a:pt x="153" y="20"/>
                    <a:pt x="153" y="49"/>
                  </a:cubicBezTo>
                  <a:lnTo>
                    <a:pt x="153" y="1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1" name="Freeform 54"/>
            <p:cNvSpPr>
              <a:spLocks/>
            </p:cNvSpPr>
            <p:nvPr/>
          </p:nvSpPr>
          <p:spPr bwMode="gray">
            <a:xfrm>
              <a:off x="4314825" y="2676525"/>
              <a:ext cx="487363" cy="488950"/>
            </a:xfrm>
            <a:custGeom>
              <a:avLst/>
              <a:gdLst>
                <a:gd name="T0" fmla="*/ 130 w 130"/>
                <a:gd name="T1" fmla="*/ 0 h 130"/>
                <a:gd name="T2" fmla="*/ 92 w 130"/>
                <a:gd name="T3" fmla="*/ 106 h 130"/>
                <a:gd name="T4" fmla="*/ 33 w 130"/>
                <a:gd name="T5" fmla="*/ 125 h 130"/>
                <a:gd name="T6" fmla="*/ 5 w 130"/>
                <a:gd name="T7" fmla="*/ 130 h 130"/>
                <a:gd name="T8" fmla="*/ 0 w 130"/>
                <a:gd name="T9" fmla="*/ 94 h 130"/>
                <a:gd name="T10" fmla="*/ 19 w 130"/>
                <a:gd name="T11" fmla="*/ 42 h 130"/>
                <a:gd name="T12" fmla="*/ 130 w 130"/>
                <a:gd name="T13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130">
                  <a:moveTo>
                    <a:pt x="130" y="0"/>
                  </a:moveTo>
                  <a:cubicBezTo>
                    <a:pt x="105" y="43"/>
                    <a:pt x="116" y="81"/>
                    <a:pt x="92" y="106"/>
                  </a:cubicBezTo>
                  <a:cubicBezTo>
                    <a:pt x="72" y="125"/>
                    <a:pt x="54" y="125"/>
                    <a:pt x="33" y="125"/>
                  </a:cubicBezTo>
                  <a:cubicBezTo>
                    <a:pt x="25" y="125"/>
                    <a:pt x="11" y="125"/>
                    <a:pt x="5" y="130"/>
                  </a:cubicBezTo>
                  <a:cubicBezTo>
                    <a:pt x="1" y="118"/>
                    <a:pt x="0" y="106"/>
                    <a:pt x="0" y="94"/>
                  </a:cubicBezTo>
                  <a:cubicBezTo>
                    <a:pt x="0" y="74"/>
                    <a:pt x="4" y="56"/>
                    <a:pt x="19" y="42"/>
                  </a:cubicBezTo>
                  <a:cubicBezTo>
                    <a:pt x="46" y="14"/>
                    <a:pt x="97" y="5"/>
                    <a:pt x="13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2" name="Freeform 55"/>
            <p:cNvSpPr>
              <a:spLocks/>
            </p:cNvSpPr>
            <p:nvPr/>
          </p:nvSpPr>
          <p:spPr bwMode="gray">
            <a:xfrm>
              <a:off x="3228975" y="3173413"/>
              <a:ext cx="571500" cy="612775"/>
            </a:xfrm>
            <a:custGeom>
              <a:avLst/>
              <a:gdLst>
                <a:gd name="T0" fmla="*/ 152 w 152"/>
                <a:gd name="T1" fmla="*/ 163 h 163"/>
                <a:gd name="T2" fmla="*/ 103 w 152"/>
                <a:gd name="T3" fmla="*/ 163 h 163"/>
                <a:gd name="T4" fmla="*/ 103 w 152"/>
                <a:gd name="T5" fmla="*/ 61 h 163"/>
                <a:gd name="T6" fmla="*/ 79 w 152"/>
                <a:gd name="T7" fmla="*/ 37 h 163"/>
                <a:gd name="T8" fmla="*/ 49 w 152"/>
                <a:gd name="T9" fmla="*/ 51 h 163"/>
                <a:gd name="T10" fmla="*/ 49 w 152"/>
                <a:gd name="T11" fmla="*/ 163 h 163"/>
                <a:gd name="T12" fmla="*/ 0 w 152"/>
                <a:gd name="T13" fmla="*/ 163 h 163"/>
                <a:gd name="T14" fmla="*/ 0 w 152"/>
                <a:gd name="T15" fmla="*/ 4 h 163"/>
                <a:gd name="T16" fmla="*/ 48 w 152"/>
                <a:gd name="T17" fmla="*/ 4 h 163"/>
                <a:gd name="T18" fmla="*/ 48 w 152"/>
                <a:gd name="T19" fmla="*/ 18 h 163"/>
                <a:gd name="T20" fmla="*/ 102 w 152"/>
                <a:gd name="T21" fmla="*/ 0 h 163"/>
                <a:gd name="T22" fmla="*/ 152 w 152"/>
                <a:gd name="T23" fmla="*/ 49 h 163"/>
                <a:gd name="T24" fmla="*/ 152 w 152"/>
                <a:gd name="T2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2" h="163">
                  <a:moveTo>
                    <a:pt x="152" y="163"/>
                  </a:moveTo>
                  <a:cubicBezTo>
                    <a:pt x="103" y="163"/>
                    <a:pt x="103" y="163"/>
                    <a:pt x="103" y="163"/>
                  </a:cubicBezTo>
                  <a:cubicBezTo>
                    <a:pt x="103" y="61"/>
                    <a:pt x="103" y="61"/>
                    <a:pt x="103" y="61"/>
                  </a:cubicBezTo>
                  <a:cubicBezTo>
                    <a:pt x="103" y="46"/>
                    <a:pt x="96" y="37"/>
                    <a:pt x="79" y="37"/>
                  </a:cubicBezTo>
                  <a:cubicBezTo>
                    <a:pt x="67" y="37"/>
                    <a:pt x="58" y="43"/>
                    <a:pt x="49" y="51"/>
                  </a:cubicBezTo>
                  <a:cubicBezTo>
                    <a:pt x="49" y="163"/>
                    <a:pt x="49" y="163"/>
                    <a:pt x="49" y="163"/>
                  </a:cubicBezTo>
                  <a:cubicBezTo>
                    <a:pt x="0" y="163"/>
                    <a:pt x="0" y="163"/>
                    <a:pt x="0" y="16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64" y="7"/>
                    <a:pt x="82" y="0"/>
                    <a:pt x="102" y="0"/>
                  </a:cubicBezTo>
                  <a:cubicBezTo>
                    <a:pt x="134" y="0"/>
                    <a:pt x="152" y="20"/>
                    <a:pt x="152" y="49"/>
                  </a:cubicBezTo>
                  <a:lnTo>
                    <a:pt x="152" y="1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3" name="Freeform 56"/>
            <p:cNvSpPr>
              <a:spLocks/>
            </p:cNvSpPr>
            <p:nvPr/>
          </p:nvSpPr>
          <p:spPr bwMode="gray">
            <a:xfrm>
              <a:off x="2492375" y="3187700"/>
              <a:ext cx="698500" cy="917575"/>
            </a:xfrm>
            <a:custGeom>
              <a:avLst/>
              <a:gdLst>
                <a:gd name="T0" fmla="*/ 186 w 186"/>
                <a:gd name="T1" fmla="*/ 0 h 244"/>
                <a:gd name="T2" fmla="*/ 106 w 186"/>
                <a:gd name="T3" fmla="*/ 192 h 244"/>
                <a:gd name="T4" fmla="*/ 36 w 186"/>
                <a:gd name="T5" fmla="*/ 244 h 244"/>
                <a:gd name="T6" fmla="*/ 0 w 186"/>
                <a:gd name="T7" fmla="*/ 239 h 244"/>
                <a:gd name="T8" fmla="*/ 7 w 186"/>
                <a:gd name="T9" fmla="*/ 207 h 244"/>
                <a:gd name="T10" fmla="*/ 28 w 186"/>
                <a:gd name="T11" fmla="*/ 210 h 244"/>
                <a:gd name="T12" fmla="*/ 68 w 186"/>
                <a:gd name="T13" fmla="*/ 170 h 244"/>
                <a:gd name="T14" fmla="*/ 73 w 186"/>
                <a:gd name="T15" fmla="*/ 159 h 244"/>
                <a:gd name="T16" fmla="*/ 12 w 186"/>
                <a:gd name="T17" fmla="*/ 0 h 244"/>
                <a:gd name="T18" fmla="*/ 65 w 186"/>
                <a:gd name="T19" fmla="*/ 0 h 244"/>
                <a:gd name="T20" fmla="*/ 94 w 186"/>
                <a:gd name="T21" fmla="*/ 78 h 244"/>
                <a:gd name="T22" fmla="*/ 101 w 186"/>
                <a:gd name="T23" fmla="*/ 105 h 244"/>
                <a:gd name="T24" fmla="*/ 110 w 186"/>
                <a:gd name="T25" fmla="*/ 77 h 244"/>
                <a:gd name="T26" fmla="*/ 139 w 186"/>
                <a:gd name="T27" fmla="*/ 0 h 244"/>
                <a:gd name="T28" fmla="*/ 186 w 186"/>
                <a:gd name="T29" fmla="*/ 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6" h="244">
                  <a:moveTo>
                    <a:pt x="186" y="0"/>
                  </a:moveTo>
                  <a:cubicBezTo>
                    <a:pt x="106" y="192"/>
                    <a:pt x="106" y="192"/>
                    <a:pt x="106" y="192"/>
                  </a:cubicBezTo>
                  <a:cubicBezTo>
                    <a:pt x="94" y="222"/>
                    <a:pt x="70" y="244"/>
                    <a:pt x="36" y="244"/>
                  </a:cubicBezTo>
                  <a:cubicBezTo>
                    <a:pt x="20" y="244"/>
                    <a:pt x="11" y="241"/>
                    <a:pt x="0" y="239"/>
                  </a:cubicBezTo>
                  <a:cubicBezTo>
                    <a:pt x="7" y="207"/>
                    <a:pt x="7" y="207"/>
                    <a:pt x="7" y="207"/>
                  </a:cubicBezTo>
                  <a:cubicBezTo>
                    <a:pt x="16" y="209"/>
                    <a:pt x="22" y="210"/>
                    <a:pt x="28" y="210"/>
                  </a:cubicBezTo>
                  <a:cubicBezTo>
                    <a:pt x="48" y="210"/>
                    <a:pt x="59" y="193"/>
                    <a:pt x="68" y="170"/>
                  </a:cubicBezTo>
                  <a:cubicBezTo>
                    <a:pt x="73" y="159"/>
                    <a:pt x="73" y="159"/>
                    <a:pt x="73" y="159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94" y="78"/>
                    <a:pt x="94" y="78"/>
                    <a:pt x="94" y="78"/>
                  </a:cubicBezTo>
                  <a:cubicBezTo>
                    <a:pt x="97" y="88"/>
                    <a:pt x="99" y="98"/>
                    <a:pt x="101" y="105"/>
                  </a:cubicBezTo>
                  <a:cubicBezTo>
                    <a:pt x="102" y="98"/>
                    <a:pt x="106" y="86"/>
                    <a:pt x="110" y="77"/>
                  </a:cubicBezTo>
                  <a:cubicBezTo>
                    <a:pt x="139" y="0"/>
                    <a:pt x="139" y="0"/>
                    <a:pt x="139" y="0"/>
                  </a:cubicBezTo>
                  <a:lnTo>
                    <a:pt x="18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4" name="Freeform 57"/>
            <p:cNvSpPr>
              <a:spLocks/>
            </p:cNvSpPr>
            <p:nvPr/>
          </p:nvSpPr>
          <p:spPr bwMode="gray">
            <a:xfrm>
              <a:off x="2024063" y="3162300"/>
              <a:ext cx="509588" cy="631825"/>
            </a:xfrm>
            <a:custGeom>
              <a:avLst/>
              <a:gdLst>
                <a:gd name="T0" fmla="*/ 136 w 136"/>
                <a:gd name="T1" fmla="*/ 115 h 168"/>
                <a:gd name="T2" fmla="*/ 66 w 136"/>
                <a:gd name="T3" fmla="*/ 168 h 168"/>
                <a:gd name="T4" fmla="*/ 0 w 136"/>
                <a:gd name="T5" fmla="*/ 156 h 168"/>
                <a:gd name="T6" fmla="*/ 14 w 136"/>
                <a:gd name="T7" fmla="*/ 124 h 168"/>
                <a:gd name="T8" fmla="*/ 59 w 136"/>
                <a:gd name="T9" fmla="*/ 134 h 168"/>
                <a:gd name="T10" fmla="*/ 86 w 136"/>
                <a:gd name="T11" fmla="*/ 119 h 168"/>
                <a:gd name="T12" fmla="*/ 75 w 136"/>
                <a:gd name="T13" fmla="*/ 107 h 168"/>
                <a:gd name="T14" fmla="*/ 41 w 136"/>
                <a:gd name="T15" fmla="*/ 99 h 168"/>
                <a:gd name="T16" fmla="*/ 4 w 136"/>
                <a:gd name="T17" fmla="*/ 53 h 168"/>
                <a:gd name="T18" fmla="*/ 71 w 136"/>
                <a:gd name="T19" fmla="*/ 0 h 168"/>
                <a:gd name="T20" fmla="*/ 126 w 136"/>
                <a:gd name="T21" fmla="*/ 8 h 168"/>
                <a:gd name="T22" fmla="*/ 114 w 136"/>
                <a:gd name="T23" fmla="*/ 40 h 168"/>
                <a:gd name="T24" fmla="*/ 77 w 136"/>
                <a:gd name="T25" fmla="*/ 33 h 168"/>
                <a:gd name="T26" fmla="*/ 54 w 136"/>
                <a:gd name="T27" fmla="*/ 46 h 168"/>
                <a:gd name="T28" fmla="*/ 64 w 136"/>
                <a:gd name="T29" fmla="*/ 58 h 168"/>
                <a:gd name="T30" fmla="*/ 94 w 136"/>
                <a:gd name="T31" fmla="*/ 65 h 168"/>
                <a:gd name="T32" fmla="*/ 136 w 136"/>
                <a:gd name="T33" fmla="*/ 115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68">
                  <a:moveTo>
                    <a:pt x="136" y="115"/>
                  </a:moveTo>
                  <a:cubicBezTo>
                    <a:pt x="136" y="149"/>
                    <a:pt x="104" y="168"/>
                    <a:pt x="66" y="168"/>
                  </a:cubicBezTo>
                  <a:cubicBezTo>
                    <a:pt x="41" y="168"/>
                    <a:pt x="21" y="164"/>
                    <a:pt x="0" y="156"/>
                  </a:cubicBezTo>
                  <a:cubicBezTo>
                    <a:pt x="14" y="124"/>
                    <a:pt x="14" y="124"/>
                    <a:pt x="14" y="124"/>
                  </a:cubicBezTo>
                  <a:cubicBezTo>
                    <a:pt x="26" y="129"/>
                    <a:pt x="44" y="134"/>
                    <a:pt x="59" y="134"/>
                  </a:cubicBezTo>
                  <a:cubicBezTo>
                    <a:pt x="70" y="134"/>
                    <a:pt x="86" y="133"/>
                    <a:pt x="86" y="119"/>
                  </a:cubicBezTo>
                  <a:cubicBezTo>
                    <a:pt x="86" y="113"/>
                    <a:pt x="82" y="109"/>
                    <a:pt x="75" y="107"/>
                  </a:cubicBezTo>
                  <a:cubicBezTo>
                    <a:pt x="65" y="104"/>
                    <a:pt x="51" y="102"/>
                    <a:pt x="41" y="99"/>
                  </a:cubicBezTo>
                  <a:cubicBezTo>
                    <a:pt x="21" y="93"/>
                    <a:pt x="4" y="83"/>
                    <a:pt x="4" y="53"/>
                  </a:cubicBezTo>
                  <a:cubicBezTo>
                    <a:pt x="4" y="21"/>
                    <a:pt x="32" y="0"/>
                    <a:pt x="71" y="0"/>
                  </a:cubicBezTo>
                  <a:cubicBezTo>
                    <a:pt x="96" y="0"/>
                    <a:pt x="112" y="3"/>
                    <a:pt x="126" y="8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07" y="37"/>
                    <a:pt x="90" y="33"/>
                    <a:pt x="77" y="33"/>
                  </a:cubicBezTo>
                  <a:cubicBezTo>
                    <a:pt x="64" y="33"/>
                    <a:pt x="54" y="38"/>
                    <a:pt x="54" y="46"/>
                  </a:cubicBezTo>
                  <a:cubicBezTo>
                    <a:pt x="54" y="50"/>
                    <a:pt x="57" y="56"/>
                    <a:pt x="64" y="58"/>
                  </a:cubicBezTo>
                  <a:cubicBezTo>
                    <a:pt x="72" y="60"/>
                    <a:pt x="84" y="63"/>
                    <a:pt x="94" y="65"/>
                  </a:cubicBezTo>
                  <a:cubicBezTo>
                    <a:pt x="115" y="70"/>
                    <a:pt x="136" y="82"/>
                    <a:pt x="136" y="1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6" name="Freeform 58"/>
            <p:cNvSpPr>
              <a:spLocks noEditPoints="1"/>
            </p:cNvSpPr>
            <p:nvPr/>
          </p:nvSpPr>
          <p:spPr bwMode="gray">
            <a:xfrm>
              <a:off x="6289675" y="3173413"/>
              <a:ext cx="530225" cy="623888"/>
            </a:xfrm>
            <a:custGeom>
              <a:avLst/>
              <a:gdLst>
                <a:gd name="T0" fmla="*/ 141 w 141"/>
                <a:gd name="T1" fmla="*/ 163 h 166"/>
                <a:gd name="T2" fmla="*/ 95 w 141"/>
                <a:gd name="T3" fmla="*/ 163 h 166"/>
                <a:gd name="T4" fmla="*/ 95 w 141"/>
                <a:gd name="T5" fmla="*/ 150 h 166"/>
                <a:gd name="T6" fmla="*/ 49 w 141"/>
                <a:gd name="T7" fmla="*/ 166 h 166"/>
                <a:gd name="T8" fmla="*/ 0 w 141"/>
                <a:gd name="T9" fmla="*/ 122 h 166"/>
                <a:gd name="T10" fmla="*/ 93 w 141"/>
                <a:gd name="T11" fmla="*/ 61 h 166"/>
                <a:gd name="T12" fmla="*/ 93 w 141"/>
                <a:gd name="T13" fmla="*/ 56 h 166"/>
                <a:gd name="T14" fmla="*/ 65 w 141"/>
                <a:gd name="T15" fmla="*/ 34 h 166"/>
                <a:gd name="T16" fmla="*/ 19 w 141"/>
                <a:gd name="T17" fmla="*/ 49 h 166"/>
                <a:gd name="T18" fmla="*/ 7 w 141"/>
                <a:gd name="T19" fmla="*/ 20 h 166"/>
                <a:gd name="T20" fmla="*/ 79 w 141"/>
                <a:gd name="T21" fmla="*/ 0 h 166"/>
                <a:gd name="T22" fmla="*/ 141 w 141"/>
                <a:gd name="T23" fmla="*/ 50 h 166"/>
                <a:gd name="T24" fmla="*/ 141 w 141"/>
                <a:gd name="T25" fmla="*/ 163 h 166"/>
                <a:gd name="T26" fmla="*/ 93 w 141"/>
                <a:gd name="T27" fmla="*/ 120 h 166"/>
                <a:gd name="T28" fmla="*/ 93 w 141"/>
                <a:gd name="T29" fmla="*/ 91 h 166"/>
                <a:gd name="T30" fmla="*/ 49 w 141"/>
                <a:gd name="T31" fmla="*/ 115 h 166"/>
                <a:gd name="T32" fmla="*/ 69 w 141"/>
                <a:gd name="T33" fmla="*/ 132 h 166"/>
                <a:gd name="T34" fmla="*/ 93 w 141"/>
                <a:gd name="T35" fmla="*/ 12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1" h="166">
                  <a:moveTo>
                    <a:pt x="141" y="163"/>
                  </a:moveTo>
                  <a:cubicBezTo>
                    <a:pt x="95" y="163"/>
                    <a:pt x="95" y="163"/>
                    <a:pt x="95" y="163"/>
                  </a:cubicBezTo>
                  <a:cubicBezTo>
                    <a:pt x="95" y="150"/>
                    <a:pt x="95" y="150"/>
                    <a:pt x="95" y="150"/>
                  </a:cubicBezTo>
                  <a:cubicBezTo>
                    <a:pt x="83" y="161"/>
                    <a:pt x="67" y="166"/>
                    <a:pt x="49" y="166"/>
                  </a:cubicBezTo>
                  <a:cubicBezTo>
                    <a:pt x="20" y="166"/>
                    <a:pt x="0" y="152"/>
                    <a:pt x="0" y="122"/>
                  </a:cubicBezTo>
                  <a:cubicBezTo>
                    <a:pt x="0" y="69"/>
                    <a:pt x="52" y="61"/>
                    <a:pt x="93" y="61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3" y="43"/>
                    <a:pt x="88" y="34"/>
                    <a:pt x="65" y="34"/>
                  </a:cubicBezTo>
                  <a:cubicBezTo>
                    <a:pt x="49" y="34"/>
                    <a:pt x="31" y="42"/>
                    <a:pt x="19" y="49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28" y="8"/>
                    <a:pt x="54" y="0"/>
                    <a:pt x="79" y="0"/>
                  </a:cubicBezTo>
                  <a:cubicBezTo>
                    <a:pt x="117" y="0"/>
                    <a:pt x="141" y="18"/>
                    <a:pt x="141" y="50"/>
                  </a:cubicBezTo>
                  <a:lnTo>
                    <a:pt x="141" y="163"/>
                  </a:lnTo>
                  <a:close/>
                  <a:moveTo>
                    <a:pt x="93" y="120"/>
                  </a:moveTo>
                  <a:cubicBezTo>
                    <a:pt x="93" y="91"/>
                    <a:pt x="93" y="91"/>
                    <a:pt x="93" y="91"/>
                  </a:cubicBezTo>
                  <a:cubicBezTo>
                    <a:pt x="70" y="90"/>
                    <a:pt x="49" y="93"/>
                    <a:pt x="49" y="115"/>
                  </a:cubicBezTo>
                  <a:cubicBezTo>
                    <a:pt x="49" y="128"/>
                    <a:pt x="60" y="132"/>
                    <a:pt x="69" y="132"/>
                  </a:cubicBezTo>
                  <a:cubicBezTo>
                    <a:pt x="79" y="132"/>
                    <a:pt x="87" y="127"/>
                    <a:pt x="93" y="1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7" name="Freeform 59"/>
            <p:cNvSpPr>
              <a:spLocks noEditPoints="1"/>
            </p:cNvSpPr>
            <p:nvPr/>
          </p:nvSpPr>
          <p:spPr bwMode="gray">
            <a:xfrm>
              <a:off x="4502150" y="3173413"/>
              <a:ext cx="596900" cy="623888"/>
            </a:xfrm>
            <a:custGeom>
              <a:avLst/>
              <a:gdLst>
                <a:gd name="T0" fmla="*/ 159 w 159"/>
                <a:gd name="T1" fmla="*/ 77 h 166"/>
                <a:gd name="T2" fmla="*/ 158 w 159"/>
                <a:gd name="T3" fmla="*/ 94 h 166"/>
                <a:gd name="T4" fmla="*/ 53 w 159"/>
                <a:gd name="T5" fmla="*/ 94 h 166"/>
                <a:gd name="T6" fmla="*/ 98 w 159"/>
                <a:gd name="T7" fmla="*/ 130 h 166"/>
                <a:gd name="T8" fmla="*/ 139 w 159"/>
                <a:gd name="T9" fmla="*/ 118 h 166"/>
                <a:gd name="T10" fmla="*/ 152 w 159"/>
                <a:gd name="T11" fmla="*/ 148 h 166"/>
                <a:gd name="T12" fmla="*/ 81 w 159"/>
                <a:gd name="T13" fmla="*/ 166 h 166"/>
                <a:gd name="T14" fmla="*/ 0 w 159"/>
                <a:gd name="T15" fmla="*/ 83 h 166"/>
                <a:gd name="T16" fmla="*/ 84 w 159"/>
                <a:gd name="T17" fmla="*/ 0 h 166"/>
                <a:gd name="T18" fmla="*/ 159 w 159"/>
                <a:gd name="T19" fmla="*/ 77 h 166"/>
                <a:gd name="T20" fmla="*/ 108 w 159"/>
                <a:gd name="T21" fmla="*/ 62 h 166"/>
                <a:gd name="T22" fmla="*/ 83 w 159"/>
                <a:gd name="T23" fmla="*/ 34 h 166"/>
                <a:gd name="T24" fmla="*/ 53 w 159"/>
                <a:gd name="T25" fmla="*/ 62 h 166"/>
                <a:gd name="T26" fmla="*/ 108 w 159"/>
                <a:gd name="T27" fmla="*/ 62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9" h="166">
                  <a:moveTo>
                    <a:pt x="159" y="77"/>
                  </a:moveTo>
                  <a:cubicBezTo>
                    <a:pt x="159" y="83"/>
                    <a:pt x="158" y="88"/>
                    <a:pt x="158" y="94"/>
                  </a:cubicBezTo>
                  <a:cubicBezTo>
                    <a:pt x="53" y="94"/>
                    <a:pt x="53" y="94"/>
                    <a:pt x="53" y="94"/>
                  </a:cubicBezTo>
                  <a:cubicBezTo>
                    <a:pt x="53" y="117"/>
                    <a:pt x="65" y="130"/>
                    <a:pt x="98" y="130"/>
                  </a:cubicBezTo>
                  <a:cubicBezTo>
                    <a:pt x="113" y="130"/>
                    <a:pt x="131" y="124"/>
                    <a:pt x="139" y="118"/>
                  </a:cubicBezTo>
                  <a:cubicBezTo>
                    <a:pt x="152" y="148"/>
                    <a:pt x="152" y="148"/>
                    <a:pt x="152" y="148"/>
                  </a:cubicBezTo>
                  <a:cubicBezTo>
                    <a:pt x="130" y="160"/>
                    <a:pt x="107" y="166"/>
                    <a:pt x="81" y="166"/>
                  </a:cubicBezTo>
                  <a:cubicBezTo>
                    <a:pt x="31" y="166"/>
                    <a:pt x="0" y="134"/>
                    <a:pt x="0" y="83"/>
                  </a:cubicBezTo>
                  <a:cubicBezTo>
                    <a:pt x="0" y="32"/>
                    <a:pt x="41" y="0"/>
                    <a:pt x="84" y="0"/>
                  </a:cubicBezTo>
                  <a:cubicBezTo>
                    <a:pt x="139" y="0"/>
                    <a:pt x="159" y="32"/>
                    <a:pt x="159" y="77"/>
                  </a:cubicBezTo>
                  <a:close/>
                  <a:moveTo>
                    <a:pt x="108" y="62"/>
                  </a:moveTo>
                  <a:cubicBezTo>
                    <a:pt x="109" y="44"/>
                    <a:pt x="100" y="34"/>
                    <a:pt x="83" y="34"/>
                  </a:cubicBezTo>
                  <a:cubicBezTo>
                    <a:pt x="66" y="34"/>
                    <a:pt x="56" y="46"/>
                    <a:pt x="53" y="62"/>
                  </a:cubicBezTo>
                  <a:lnTo>
                    <a:pt x="108" y="6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8" name="Freeform 60"/>
            <p:cNvSpPr>
              <a:spLocks noEditPoints="1"/>
            </p:cNvSpPr>
            <p:nvPr/>
          </p:nvSpPr>
          <p:spPr bwMode="gray">
            <a:xfrm>
              <a:off x="3863975" y="3170238"/>
              <a:ext cx="642938" cy="946150"/>
            </a:xfrm>
            <a:custGeom>
              <a:avLst/>
              <a:gdLst>
                <a:gd name="T0" fmla="*/ 171 w 171"/>
                <a:gd name="T1" fmla="*/ 183 h 252"/>
                <a:gd name="T2" fmla="*/ 79 w 171"/>
                <a:gd name="T3" fmla="*/ 251 h 252"/>
                <a:gd name="T4" fmla="*/ 0 w 171"/>
                <a:gd name="T5" fmla="*/ 201 h 252"/>
                <a:gd name="T6" fmla="*/ 26 w 171"/>
                <a:gd name="T7" fmla="*/ 165 h 252"/>
                <a:gd name="T8" fmla="*/ 11 w 171"/>
                <a:gd name="T9" fmla="*/ 155 h 252"/>
                <a:gd name="T10" fmla="*/ 3 w 171"/>
                <a:gd name="T11" fmla="*/ 130 h 252"/>
                <a:gd name="T12" fmla="*/ 33 w 171"/>
                <a:gd name="T13" fmla="*/ 91 h 252"/>
                <a:gd name="T14" fmla="*/ 12 w 171"/>
                <a:gd name="T15" fmla="*/ 52 h 252"/>
                <a:gd name="T16" fmla="*/ 86 w 171"/>
                <a:gd name="T17" fmla="*/ 0 h 252"/>
                <a:gd name="T18" fmla="*/ 156 w 171"/>
                <a:gd name="T19" fmla="*/ 51 h 252"/>
                <a:gd name="T20" fmla="*/ 81 w 171"/>
                <a:gd name="T21" fmla="*/ 105 h 252"/>
                <a:gd name="T22" fmla="*/ 61 w 171"/>
                <a:gd name="T23" fmla="*/ 103 h 252"/>
                <a:gd name="T24" fmla="*/ 49 w 171"/>
                <a:gd name="T25" fmla="*/ 117 h 252"/>
                <a:gd name="T26" fmla="*/ 73 w 171"/>
                <a:gd name="T27" fmla="*/ 131 h 252"/>
                <a:gd name="T28" fmla="*/ 112 w 171"/>
                <a:gd name="T29" fmla="*/ 131 h 252"/>
                <a:gd name="T30" fmla="*/ 171 w 171"/>
                <a:gd name="T31" fmla="*/ 183 h 252"/>
                <a:gd name="T32" fmla="*/ 108 w 171"/>
                <a:gd name="T33" fmla="*/ 53 h 252"/>
                <a:gd name="T34" fmla="*/ 84 w 171"/>
                <a:gd name="T35" fmla="*/ 29 h 252"/>
                <a:gd name="T36" fmla="*/ 60 w 171"/>
                <a:gd name="T37" fmla="*/ 53 h 252"/>
                <a:gd name="T38" fmla="*/ 83 w 171"/>
                <a:gd name="T39" fmla="*/ 77 h 252"/>
                <a:gd name="T40" fmla="*/ 108 w 171"/>
                <a:gd name="T41" fmla="*/ 53 h 252"/>
                <a:gd name="T42" fmla="*/ 121 w 171"/>
                <a:gd name="T43" fmla="*/ 190 h 252"/>
                <a:gd name="T44" fmla="*/ 100 w 171"/>
                <a:gd name="T45" fmla="*/ 172 h 252"/>
                <a:gd name="T46" fmla="*/ 57 w 171"/>
                <a:gd name="T47" fmla="*/ 172 h 252"/>
                <a:gd name="T48" fmla="*/ 40 w 171"/>
                <a:gd name="T49" fmla="*/ 195 h 252"/>
                <a:gd name="T50" fmla="*/ 81 w 171"/>
                <a:gd name="T51" fmla="*/ 218 h 252"/>
                <a:gd name="T52" fmla="*/ 121 w 171"/>
                <a:gd name="T53" fmla="*/ 190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1" h="252">
                  <a:moveTo>
                    <a:pt x="171" y="183"/>
                  </a:moveTo>
                  <a:cubicBezTo>
                    <a:pt x="171" y="230"/>
                    <a:pt x="124" y="251"/>
                    <a:pt x="79" y="251"/>
                  </a:cubicBezTo>
                  <a:cubicBezTo>
                    <a:pt x="39" y="252"/>
                    <a:pt x="0" y="240"/>
                    <a:pt x="0" y="201"/>
                  </a:cubicBezTo>
                  <a:cubicBezTo>
                    <a:pt x="0" y="183"/>
                    <a:pt x="16" y="171"/>
                    <a:pt x="26" y="165"/>
                  </a:cubicBezTo>
                  <a:cubicBezTo>
                    <a:pt x="20" y="162"/>
                    <a:pt x="15" y="160"/>
                    <a:pt x="11" y="155"/>
                  </a:cubicBezTo>
                  <a:cubicBezTo>
                    <a:pt x="7" y="150"/>
                    <a:pt x="3" y="142"/>
                    <a:pt x="3" y="130"/>
                  </a:cubicBezTo>
                  <a:cubicBezTo>
                    <a:pt x="3" y="115"/>
                    <a:pt x="17" y="100"/>
                    <a:pt x="33" y="91"/>
                  </a:cubicBezTo>
                  <a:cubicBezTo>
                    <a:pt x="24" y="86"/>
                    <a:pt x="12" y="78"/>
                    <a:pt x="12" y="52"/>
                  </a:cubicBezTo>
                  <a:cubicBezTo>
                    <a:pt x="12" y="18"/>
                    <a:pt x="44" y="0"/>
                    <a:pt x="86" y="0"/>
                  </a:cubicBezTo>
                  <a:cubicBezTo>
                    <a:pt x="122" y="0"/>
                    <a:pt x="156" y="9"/>
                    <a:pt x="156" y="51"/>
                  </a:cubicBezTo>
                  <a:cubicBezTo>
                    <a:pt x="156" y="91"/>
                    <a:pt x="119" y="105"/>
                    <a:pt x="81" y="105"/>
                  </a:cubicBezTo>
                  <a:cubicBezTo>
                    <a:pt x="73" y="105"/>
                    <a:pt x="67" y="104"/>
                    <a:pt x="61" y="103"/>
                  </a:cubicBezTo>
                  <a:cubicBezTo>
                    <a:pt x="57" y="105"/>
                    <a:pt x="49" y="111"/>
                    <a:pt x="49" y="117"/>
                  </a:cubicBezTo>
                  <a:cubicBezTo>
                    <a:pt x="49" y="129"/>
                    <a:pt x="66" y="131"/>
                    <a:pt x="73" y="131"/>
                  </a:cubicBezTo>
                  <a:cubicBezTo>
                    <a:pt x="112" y="131"/>
                    <a:pt x="112" y="131"/>
                    <a:pt x="112" y="131"/>
                  </a:cubicBezTo>
                  <a:cubicBezTo>
                    <a:pt x="149" y="131"/>
                    <a:pt x="171" y="148"/>
                    <a:pt x="171" y="183"/>
                  </a:cubicBezTo>
                  <a:close/>
                  <a:moveTo>
                    <a:pt x="108" y="53"/>
                  </a:moveTo>
                  <a:cubicBezTo>
                    <a:pt x="108" y="40"/>
                    <a:pt x="101" y="29"/>
                    <a:pt x="84" y="29"/>
                  </a:cubicBezTo>
                  <a:cubicBezTo>
                    <a:pt x="69" y="29"/>
                    <a:pt x="60" y="42"/>
                    <a:pt x="60" y="53"/>
                  </a:cubicBezTo>
                  <a:cubicBezTo>
                    <a:pt x="60" y="67"/>
                    <a:pt x="68" y="77"/>
                    <a:pt x="83" y="77"/>
                  </a:cubicBezTo>
                  <a:cubicBezTo>
                    <a:pt x="100" y="77"/>
                    <a:pt x="108" y="66"/>
                    <a:pt x="108" y="53"/>
                  </a:cubicBezTo>
                  <a:close/>
                  <a:moveTo>
                    <a:pt x="121" y="190"/>
                  </a:moveTo>
                  <a:cubicBezTo>
                    <a:pt x="121" y="177"/>
                    <a:pt x="111" y="172"/>
                    <a:pt x="100" y="172"/>
                  </a:cubicBezTo>
                  <a:cubicBezTo>
                    <a:pt x="57" y="172"/>
                    <a:pt x="57" y="172"/>
                    <a:pt x="57" y="172"/>
                  </a:cubicBezTo>
                  <a:cubicBezTo>
                    <a:pt x="50" y="176"/>
                    <a:pt x="40" y="184"/>
                    <a:pt x="40" y="195"/>
                  </a:cubicBezTo>
                  <a:cubicBezTo>
                    <a:pt x="40" y="209"/>
                    <a:pt x="59" y="218"/>
                    <a:pt x="81" y="218"/>
                  </a:cubicBezTo>
                  <a:cubicBezTo>
                    <a:pt x="104" y="218"/>
                    <a:pt x="121" y="208"/>
                    <a:pt x="121" y="19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9" name="Freeform 61"/>
            <p:cNvSpPr>
              <a:spLocks noEditPoints="1"/>
            </p:cNvSpPr>
            <p:nvPr/>
          </p:nvSpPr>
          <p:spPr bwMode="gray">
            <a:xfrm>
              <a:off x="6929438" y="3563938"/>
              <a:ext cx="206375" cy="203200"/>
            </a:xfrm>
            <a:custGeom>
              <a:avLst/>
              <a:gdLst>
                <a:gd name="T0" fmla="*/ 27 w 55"/>
                <a:gd name="T1" fmla="*/ 0 h 54"/>
                <a:gd name="T2" fmla="*/ 55 w 55"/>
                <a:gd name="T3" fmla="*/ 27 h 54"/>
                <a:gd name="T4" fmla="*/ 27 w 55"/>
                <a:gd name="T5" fmla="*/ 54 h 54"/>
                <a:gd name="T6" fmla="*/ 0 w 55"/>
                <a:gd name="T7" fmla="*/ 27 h 54"/>
                <a:gd name="T8" fmla="*/ 27 w 55"/>
                <a:gd name="T9" fmla="*/ 0 h 54"/>
                <a:gd name="T10" fmla="*/ 27 w 55"/>
                <a:gd name="T11" fmla="*/ 49 h 54"/>
                <a:gd name="T12" fmla="*/ 48 w 55"/>
                <a:gd name="T13" fmla="*/ 27 h 54"/>
                <a:gd name="T14" fmla="*/ 27 w 55"/>
                <a:gd name="T15" fmla="*/ 6 h 54"/>
                <a:gd name="T16" fmla="*/ 7 w 55"/>
                <a:gd name="T17" fmla="*/ 27 h 54"/>
                <a:gd name="T18" fmla="*/ 27 w 55"/>
                <a:gd name="T19" fmla="*/ 49 h 54"/>
                <a:gd name="T20" fmla="*/ 17 w 55"/>
                <a:gd name="T21" fmla="*/ 12 h 54"/>
                <a:gd name="T22" fmla="*/ 28 w 55"/>
                <a:gd name="T23" fmla="*/ 12 h 54"/>
                <a:gd name="T24" fmla="*/ 40 w 55"/>
                <a:gd name="T25" fmla="*/ 21 h 54"/>
                <a:gd name="T26" fmla="*/ 32 w 55"/>
                <a:gd name="T27" fmla="*/ 29 h 54"/>
                <a:gd name="T28" fmla="*/ 40 w 55"/>
                <a:gd name="T29" fmla="*/ 42 h 54"/>
                <a:gd name="T30" fmla="*/ 34 w 55"/>
                <a:gd name="T31" fmla="*/ 42 h 54"/>
                <a:gd name="T32" fmla="*/ 26 w 55"/>
                <a:gd name="T33" fmla="*/ 29 h 54"/>
                <a:gd name="T34" fmla="*/ 23 w 55"/>
                <a:gd name="T35" fmla="*/ 29 h 54"/>
                <a:gd name="T36" fmla="*/ 23 w 55"/>
                <a:gd name="T37" fmla="*/ 42 h 54"/>
                <a:gd name="T38" fmla="*/ 17 w 55"/>
                <a:gd name="T39" fmla="*/ 42 h 54"/>
                <a:gd name="T40" fmla="*/ 17 w 55"/>
                <a:gd name="T41" fmla="*/ 12 h 54"/>
                <a:gd name="T42" fmla="*/ 23 w 55"/>
                <a:gd name="T43" fmla="*/ 25 h 54"/>
                <a:gd name="T44" fmla="*/ 28 w 55"/>
                <a:gd name="T45" fmla="*/ 25 h 54"/>
                <a:gd name="T46" fmla="*/ 34 w 55"/>
                <a:gd name="T47" fmla="*/ 20 h 54"/>
                <a:gd name="T48" fmla="*/ 28 w 55"/>
                <a:gd name="T49" fmla="*/ 17 h 54"/>
                <a:gd name="T50" fmla="*/ 23 w 55"/>
                <a:gd name="T51" fmla="*/ 17 h 54"/>
                <a:gd name="T52" fmla="*/ 23 w 55"/>
                <a:gd name="T53" fmla="*/ 2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4">
                  <a:moveTo>
                    <a:pt x="27" y="0"/>
                  </a:moveTo>
                  <a:cubicBezTo>
                    <a:pt x="42" y="0"/>
                    <a:pt x="55" y="11"/>
                    <a:pt x="55" y="27"/>
                  </a:cubicBezTo>
                  <a:cubicBezTo>
                    <a:pt x="55" y="44"/>
                    <a:pt x="42" y="54"/>
                    <a:pt x="27" y="54"/>
                  </a:cubicBezTo>
                  <a:cubicBezTo>
                    <a:pt x="13" y="54"/>
                    <a:pt x="0" y="44"/>
                    <a:pt x="0" y="27"/>
                  </a:cubicBezTo>
                  <a:cubicBezTo>
                    <a:pt x="0" y="11"/>
                    <a:pt x="13" y="0"/>
                    <a:pt x="27" y="0"/>
                  </a:cubicBezTo>
                  <a:close/>
                  <a:moveTo>
                    <a:pt x="27" y="49"/>
                  </a:moveTo>
                  <a:cubicBezTo>
                    <a:pt x="39" y="49"/>
                    <a:pt x="48" y="40"/>
                    <a:pt x="48" y="27"/>
                  </a:cubicBezTo>
                  <a:cubicBezTo>
                    <a:pt x="48" y="15"/>
                    <a:pt x="39" y="6"/>
                    <a:pt x="27" y="6"/>
                  </a:cubicBezTo>
                  <a:cubicBezTo>
                    <a:pt x="16" y="6"/>
                    <a:pt x="7" y="15"/>
                    <a:pt x="7" y="27"/>
                  </a:cubicBezTo>
                  <a:cubicBezTo>
                    <a:pt x="7" y="40"/>
                    <a:pt x="16" y="49"/>
                    <a:pt x="27" y="49"/>
                  </a:cubicBezTo>
                  <a:close/>
                  <a:moveTo>
                    <a:pt x="17" y="12"/>
                  </a:moveTo>
                  <a:cubicBezTo>
                    <a:pt x="28" y="12"/>
                    <a:pt x="28" y="12"/>
                    <a:pt x="28" y="12"/>
                  </a:cubicBezTo>
                  <a:cubicBezTo>
                    <a:pt x="36" y="12"/>
                    <a:pt x="40" y="14"/>
                    <a:pt x="40" y="21"/>
                  </a:cubicBezTo>
                  <a:cubicBezTo>
                    <a:pt x="40" y="27"/>
                    <a:pt x="36" y="29"/>
                    <a:pt x="32" y="29"/>
                  </a:cubicBezTo>
                  <a:cubicBezTo>
                    <a:pt x="40" y="42"/>
                    <a:pt x="40" y="42"/>
                    <a:pt x="40" y="42"/>
                  </a:cubicBezTo>
                  <a:cubicBezTo>
                    <a:pt x="34" y="42"/>
                    <a:pt x="34" y="42"/>
                    <a:pt x="34" y="42"/>
                  </a:cubicBezTo>
                  <a:cubicBezTo>
                    <a:pt x="26" y="29"/>
                    <a:pt x="26" y="29"/>
                    <a:pt x="26" y="29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17" y="42"/>
                    <a:pt x="17" y="42"/>
                    <a:pt x="17" y="42"/>
                  </a:cubicBezTo>
                  <a:lnTo>
                    <a:pt x="17" y="12"/>
                  </a:lnTo>
                  <a:close/>
                  <a:moveTo>
                    <a:pt x="23" y="25"/>
                  </a:moveTo>
                  <a:cubicBezTo>
                    <a:pt x="28" y="25"/>
                    <a:pt x="28" y="25"/>
                    <a:pt x="28" y="25"/>
                  </a:cubicBezTo>
                  <a:cubicBezTo>
                    <a:pt x="31" y="25"/>
                    <a:pt x="34" y="24"/>
                    <a:pt x="34" y="20"/>
                  </a:cubicBezTo>
                  <a:cubicBezTo>
                    <a:pt x="34" y="17"/>
                    <a:pt x="30" y="17"/>
                    <a:pt x="28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2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50" name="Freeform 45"/>
          <p:cNvSpPr>
            <a:spLocks noChangeAspect="1" noEditPoints="1"/>
          </p:cNvSpPr>
          <p:nvPr userDrawn="1"/>
        </p:nvSpPr>
        <p:spPr bwMode="gray">
          <a:xfrm>
            <a:off x="11882928" y="6560221"/>
            <a:ext cx="62765" cy="61209"/>
          </a:xfrm>
          <a:custGeom>
            <a:avLst/>
            <a:gdLst>
              <a:gd name="T0" fmla="*/ 50 w 100"/>
              <a:gd name="T1" fmla="*/ 0 h 97"/>
              <a:gd name="T2" fmla="*/ 100 w 100"/>
              <a:gd name="T3" fmla="*/ 48 h 97"/>
              <a:gd name="T4" fmla="*/ 50 w 100"/>
              <a:gd name="T5" fmla="*/ 97 h 97"/>
              <a:gd name="T6" fmla="*/ 0 w 100"/>
              <a:gd name="T7" fmla="*/ 48 h 97"/>
              <a:gd name="T8" fmla="*/ 50 w 100"/>
              <a:gd name="T9" fmla="*/ 0 h 97"/>
              <a:gd name="T10" fmla="*/ 50 w 100"/>
              <a:gd name="T11" fmla="*/ 87 h 97"/>
              <a:gd name="T12" fmla="*/ 87 w 100"/>
              <a:gd name="T13" fmla="*/ 48 h 97"/>
              <a:gd name="T14" fmla="*/ 50 w 100"/>
              <a:gd name="T15" fmla="*/ 10 h 97"/>
              <a:gd name="T16" fmla="*/ 13 w 100"/>
              <a:gd name="T17" fmla="*/ 48 h 97"/>
              <a:gd name="T18" fmla="*/ 50 w 100"/>
              <a:gd name="T19" fmla="*/ 87 h 97"/>
              <a:gd name="T20" fmla="*/ 31 w 100"/>
              <a:gd name="T21" fmla="*/ 21 h 97"/>
              <a:gd name="T22" fmla="*/ 51 w 100"/>
              <a:gd name="T23" fmla="*/ 21 h 97"/>
              <a:gd name="T24" fmla="*/ 73 w 100"/>
              <a:gd name="T25" fmla="*/ 37 h 97"/>
              <a:gd name="T26" fmla="*/ 58 w 100"/>
              <a:gd name="T27" fmla="*/ 52 h 97"/>
              <a:gd name="T28" fmla="*/ 73 w 100"/>
              <a:gd name="T29" fmla="*/ 76 h 97"/>
              <a:gd name="T30" fmla="*/ 62 w 100"/>
              <a:gd name="T31" fmla="*/ 76 h 97"/>
              <a:gd name="T32" fmla="*/ 48 w 100"/>
              <a:gd name="T33" fmla="*/ 52 h 97"/>
              <a:gd name="T34" fmla="*/ 41 w 100"/>
              <a:gd name="T35" fmla="*/ 52 h 97"/>
              <a:gd name="T36" fmla="*/ 41 w 100"/>
              <a:gd name="T37" fmla="*/ 76 h 97"/>
              <a:gd name="T38" fmla="*/ 31 w 100"/>
              <a:gd name="T39" fmla="*/ 76 h 97"/>
              <a:gd name="T40" fmla="*/ 31 w 100"/>
              <a:gd name="T41" fmla="*/ 21 h 97"/>
              <a:gd name="T42" fmla="*/ 41 w 100"/>
              <a:gd name="T43" fmla="*/ 44 h 97"/>
              <a:gd name="T44" fmla="*/ 51 w 100"/>
              <a:gd name="T45" fmla="*/ 44 h 97"/>
              <a:gd name="T46" fmla="*/ 62 w 100"/>
              <a:gd name="T47" fmla="*/ 36 h 97"/>
              <a:gd name="T48" fmla="*/ 51 w 100"/>
              <a:gd name="T49" fmla="*/ 30 h 97"/>
              <a:gd name="T50" fmla="*/ 41 w 100"/>
              <a:gd name="T51" fmla="*/ 30 h 97"/>
              <a:gd name="T52" fmla="*/ 41 w 100"/>
              <a:gd name="T53" fmla="*/ 44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00" h="97">
                <a:moveTo>
                  <a:pt x="50" y="0"/>
                </a:moveTo>
                <a:cubicBezTo>
                  <a:pt x="76" y="0"/>
                  <a:pt x="100" y="19"/>
                  <a:pt x="100" y="48"/>
                </a:cubicBezTo>
                <a:cubicBezTo>
                  <a:pt x="100" y="78"/>
                  <a:pt x="76" y="97"/>
                  <a:pt x="50" y="97"/>
                </a:cubicBezTo>
                <a:cubicBezTo>
                  <a:pt x="24" y="97"/>
                  <a:pt x="0" y="78"/>
                  <a:pt x="0" y="48"/>
                </a:cubicBezTo>
                <a:cubicBezTo>
                  <a:pt x="0" y="19"/>
                  <a:pt x="24" y="0"/>
                  <a:pt x="50" y="0"/>
                </a:cubicBezTo>
                <a:close/>
                <a:moveTo>
                  <a:pt x="50" y="87"/>
                </a:moveTo>
                <a:cubicBezTo>
                  <a:pt x="70" y="87"/>
                  <a:pt x="87" y="71"/>
                  <a:pt x="87" y="48"/>
                </a:cubicBezTo>
                <a:cubicBezTo>
                  <a:pt x="87" y="26"/>
                  <a:pt x="70" y="10"/>
                  <a:pt x="50" y="10"/>
                </a:cubicBezTo>
                <a:cubicBezTo>
                  <a:pt x="30" y="10"/>
                  <a:pt x="13" y="26"/>
                  <a:pt x="13" y="48"/>
                </a:cubicBezTo>
                <a:cubicBezTo>
                  <a:pt x="13" y="71"/>
                  <a:pt x="30" y="87"/>
                  <a:pt x="50" y="87"/>
                </a:cubicBezTo>
                <a:close/>
                <a:moveTo>
                  <a:pt x="31" y="21"/>
                </a:moveTo>
                <a:cubicBezTo>
                  <a:pt x="51" y="21"/>
                  <a:pt x="51" y="21"/>
                  <a:pt x="51" y="21"/>
                </a:cubicBezTo>
                <a:cubicBezTo>
                  <a:pt x="65" y="21"/>
                  <a:pt x="73" y="25"/>
                  <a:pt x="73" y="37"/>
                </a:cubicBezTo>
                <a:cubicBezTo>
                  <a:pt x="73" y="47"/>
                  <a:pt x="66" y="51"/>
                  <a:pt x="58" y="52"/>
                </a:cubicBezTo>
                <a:cubicBezTo>
                  <a:pt x="73" y="76"/>
                  <a:pt x="73" y="76"/>
                  <a:pt x="73" y="76"/>
                </a:cubicBezTo>
                <a:cubicBezTo>
                  <a:pt x="62" y="76"/>
                  <a:pt x="62" y="76"/>
                  <a:pt x="62" y="76"/>
                </a:cubicBezTo>
                <a:cubicBezTo>
                  <a:pt x="48" y="52"/>
                  <a:pt x="48" y="52"/>
                  <a:pt x="48" y="52"/>
                </a:cubicBezTo>
                <a:cubicBezTo>
                  <a:pt x="41" y="52"/>
                  <a:pt x="41" y="52"/>
                  <a:pt x="41" y="52"/>
                </a:cubicBezTo>
                <a:cubicBezTo>
                  <a:pt x="41" y="76"/>
                  <a:pt x="41" y="76"/>
                  <a:pt x="41" y="76"/>
                </a:cubicBezTo>
                <a:cubicBezTo>
                  <a:pt x="31" y="76"/>
                  <a:pt x="31" y="76"/>
                  <a:pt x="31" y="76"/>
                </a:cubicBezTo>
                <a:lnTo>
                  <a:pt x="31" y="21"/>
                </a:lnTo>
                <a:close/>
                <a:moveTo>
                  <a:pt x="41" y="44"/>
                </a:moveTo>
                <a:cubicBezTo>
                  <a:pt x="51" y="44"/>
                  <a:pt x="51" y="44"/>
                  <a:pt x="51" y="44"/>
                </a:cubicBezTo>
                <a:cubicBezTo>
                  <a:pt x="57" y="44"/>
                  <a:pt x="62" y="43"/>
                  <a:pt x="62" y="36"/>
                </a:cubicBezTo>
                <a:cubicBezTo>
                  <a:pt x="62" y="30"/>
                  <a:pt x="56" y="30"/>
                  <a:pt x="51" y="30"/>
                </a:cubicBezTo>
                <a:cubicBezTo>
                  <a:pt x="41" y="30"/>
                  <a:pt x="41" y="30"/>
                  <a:pt x="41" y="30"/>
                </a:cubicBezTo>
                <a:lnTo>
                  <a:pt x="41" y="4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51" name="Rectangle 12"/>
          <p:cNvSpPr>
            <a:spLocks noChangeArrowheads="1"/>
          </p:cNvSpPr>
          <p:nvPr userDrawn="1"/>
        </p:nvSpPr>
        <p:spPr bwMode="gray">
          <a:xfrm>
            <a:off x="1" y="5079634"/>
            <a:ext cx="12192001" cy="11094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53" name="Rectangle 12"/>
          <p:cNvSpPr>
            <a:spLocks noChangeArrowheads="1"/>
          </p:cNvSpPr>
          <p:nvPr userDrawn="1"/>
        </p:nvSpPr>
        <p:spPr bwMode="gray">
          <a:xfrm>
            <a:off x="1217" y="5967588"/>
            <a:ext cx="10889171" cy="2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Classification: INTERNAL USE ONLY</a:t>
            </a:r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53572C-12F5-47C0-A119-BE3602A66766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fik 5">
            <a:extLst>
              <a:ext uri="{FF2B5EF4-FFF2-40B4-BE49-F238E27FC236}">
                <a16:creationId xmlns:a16="http://schemas.microsoft.com/office/drawing/2014/main" id="{FC1252C0-21FC-4336-A38F-02211E47A03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684" y="5250964"/>
            <a:ext cx="2902825" cy="685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51187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3572C-12F5-47C0-A119-BE3602A66766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Segnaposto piè di pagina 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>Classification: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4565672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53572C-12F5-47C0-A119-BE3602A6676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Segnaposto piè di pagina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/>
              <a:t>Classification: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8646564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lide Title">
    <p:spTree>
      <p:nvGrpSpPr>
        <p:cNvPr id="1" name="Group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Shape 92"/>
          <p:cNvSpPr txBox="1">
            <a:spLocks noGrp="1"/>
          </p:cNvSpPr>
          <p:nvPr>
            <p:ph type="title" idx="2"/>
          </p:nvPr>
        </p:nvSpPr>
        <p:spPr>
          <a:xfrm>
            <a:off x="507003" y="147186"/>
            <a:ext cx="11396143" cy="807103"/>
          </a:xfrm>
          <a:prstGeom prst="rect">
            <a:avLst/>
          </a:prstGeom>
        </p:spPr>
        <p:txBody>
          <a:bodyPr/>
          <a:lstStyle>
            <a:defPPr/>
            <a:lvl1pPr lvl="0">
              <a:lnSpc>
                <a:spcPct val="100000"/>
              </a:lnSpc>
              <a:defRPr b="1">
                <a:solidFill>
                  <a:srgbClr val="005596"/>
                </a:solidFill>
              </a:defRPr>
            </a:lvl1pPr>
          </a:lstStyle>
          <a:p>
            <a:r>
              <a:t>Click to edit Master title style</a:t>
            </a:r>
          </a:p>
        </p:txBody>
      </p:sp>
      <p:sp>
        <p:nvSpPr>
          <p:cNvPr id="93" name="Shape 93"/>
          <p:cNvSpPr txBox="1">
            <a:spLocks noGrp="1"/>
          </p:cNvSpPr>
          <p:nvPr>
            <p:ph type="sldNum" idx="12"/>
          </p:nvPr>
        </p:nvSpPr>
        <p:spPr>
          <a:xfrm>
            <a:off x="97679" y="5885828"/>
            <a:ext cx="517564" cy="10259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>
            <a:defPPr/>
            <a:lvl1pPr lvl="0">
              <a:lnSpc>
                <a:spcPts val="800"/>
              </a:lnSpc>
              <a:defRPr sz="800">
                <a:solidFill>
                  <a:schemeClr val="tx2"/>
                </a:solidFill>
              </a:defRPr>
            </a:lvl1pPr>
          </a:lstStyle>
          <a:p>
            <a:pPr defTabSz="1219170">
              <a:defRPr/>
            </a:pPr>
            <a:r>
              <a:rPr lang="ru-RU">
                <a:solidFill>
                  <a:srgbClr val="0071CE"/>
                </a:solidFill>
              </a:rPr>
              <a:t>‹#›</a:t>
            </a:r>
          </a:p>
        </p:txBody>
      </p:sp>
    </p:spTree>
    <p:extLst>
      <p:ext uri="{BB962C8B-B14F-4D97-AF65-F5344CB8AC3E}">
        <p14:creationId xmlns:p14="http://schemas.microsoft.com/office/powerpoint/2010/main" val="19250915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solidFill>
            <a:srgbClr val="FCB42C">
              <a:alpha val="0"/>
            </a:srgbClr>
          </a:solidFill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4"/>
            <a:ext cx="4673600" cy="4170677"/>
          </a:xfrm>
        </p:spPr>
        <p:txBody>
          <a:bodyPr/>
          <a:lstStyle>
            <a:lvl1pPr>
              <a:buClr>
                <a:schemeClr val="accent4"/>
              </a:buClr>
              <a:defRPr sz="2000"/>
            </a:lvl1pPr>
            <a:lvl2pPr>
              <a:buClr>
                <a:schemeClr val="accent4"/>
              </a:buClr>
              <a:defRPr sz="1800"/>
            </a:lvl2pPr>
            <a:lvl3pPr>
              <a:buClr>
                <a:schemeClr val="accent4"/>
              </a:buClr>
              <a:defRPr sz="1600"/>
            </a:lvl3pPr>
            <a:lvl4pPr>
              <a:buClr>
                <a:schemeClr val="accent4"/>
              </a:buClr>
              <a:defRPr sz="1400"/>
            </a:lvl4pPr>
            <a:lvl5pPr>
              <a:buClr>
                <a:schemeClr val="accent4"/>
              </a:buCl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588006" y="1600205"/>
            <a:ext cx="5060951" cy="4170679"/>
          </a:xfrm>
        </p:spPr>
        <p:txBody>
          <a:bodyPr/>
          <a:lstStyle>
            <a:lvl1pPr>
              <a:buClr>
                <a:schemeClr val="accent4"/>
              </a:buClr>
              <a:defRPr sz="2000"/>
            </a:lvl1pPr>
            <a:lvl2pPr>
              <a:buClr>
                <a:schemeClr val="accent4"/>
              </a:buClr>
              <a:defRPr sz="1600"/>
            </a:lvl2pPr>
            <a:lvl3pPr>
              <a:buClr>
                <a:schemeClr val="accent4"/>
              </a:buClr>
              <a:defRPr sz="1600"/>
            </a:lvl3pPr>
            <a:lvl4pPr>
              <a:buClr>
                <a:schemeClr val="accent4"/>
              </a:buClr>
              <a:defRPr sz="1400"/>
            </a:lvl4pPr>
            <a:lvl5pPr>
              <a:buClr>
                <a:schemeClr val="accent4"/>
              </a:buCl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16961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B14152-8117-4112-9DB9-8A676FC06C5A}" type="datetimeFigureOut">
              <a:rPr lang="en-US" smtClean="0"/>
              <a:t>4/3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BA4478-7F67-43FF-908D-E04B1691F810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46530" y="197785"/>
            <a:ext cx="11604812" cy="842123"/>
          </a:xfrm>
        </p:spPr>
        <p:txBody>
          <a:bodyPr/>
          <a:lstStyle>
            <a:lvl1pPr>
              <a:defRPr>
                <a:latin typeface="Akrobat ExtraBold" panose="00000900000000000000" pitchFamily="50" charset="-52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404147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 b="1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1045"/>
              </a:lnSpc>
            </a:pPr>
            <a:r>
              <a:rPr spc="-10" dirty="0"/>
              <a:t>КЛАССИФИКАЦИЯ:</a:t>
            </a:r>
            <a:r>
              <a:rPr spc="75" dirty="0"/>
              <a:t> </a:t>
            </a:r>
            <a:r>
              <a:rPr spc="-10" dirty="0"/>
              <a:t>ПУБЛИЧНО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3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 marL="38100">
              <a:lnSpc>
                <a:spcPts val="1045"/>
              </a:lnSpc>
            </a:pPr>
            <a:fld id="{81D60167-4931-47E6-BA6A-407CBD079E47}" type="slidenum">
              <a:rPr spc="-50" dirty="0"/>
              <a:t>‹#›</a:t>
            </a:fld>
            <a:endParaRPr spc="-50" dirty="0"/>
          </a:p>
        </p:txBody>
      </p:sp>
    </p:spTree>
    <p:extLst>
      <p:ext uri="{BB962C8B-B14F-4D97-AF65-F5344CB8AC3E}">
        <p14:creationId xmlns:p14="http://schemas.microsoft.com/office/powerpoint/2010/main" val="28758737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00412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11349495" y="6362979"/>
            <a:ext cx="276225" cy="203200"/>
          </a:xfrm>
          <a:custGeom>
            <a:avLst/>
            <a:gdLst/>
            <a:ahLst/>
            <a:cxnLst/>
            <a:rect l="l" t="t" r="r" b="b"/>
            <a:pathLst>
              <a:path w="276225" h="203200">
                <a:moveTo>
                  <a:pt x="146761" y="91160"/>
                </a:moveTo>
                <a:lnTo>
                  <a:pt x="143522" y="71704"/>
                </a:lnTo>
                <a:lnTo>
                  <a:pt x="134150" y="56743"/>
                </a:lnTo>
                <a:lnTo>
                  <a:pt x="119164" y="47142"/>
                </a:lnTo>
                <a:lnTo>
                  <a:pt x="99085" y="43751"/>
                </a:lnTo>
                <a:lnTo>
                  <a:pt x="84734" y="44958"/>
                </a:lnTo>
                <a:lnTo>
                  <a:pt x="71094" y="48387"/>
                </a:lnTo>
                <a:lnTo>
                  <a:pt x="58140" y="53759"/>
                </a:lnTo>
                <a:lnTo>
                  <a:pt x="45872" y="60769"/>
                </a:lnTo>
                <a:lnTo>
                  <a:pt x="45872" y="47396"/>
                </a:lnTo>
                <a:lnTo>
                  <a:pt x="0" y="47396"/>
                </a:lnTo>
                <a:lnTo>
                  <a:pt x="0" y="199936"/>
                </a:lnTo>
                <a:lnTo>
                  <a:pt x="47713" y="199936"/>
                </a:lnTo>
                <a:lnTo>
                  <a:pt x="47713" y="92379"/>
                </a:lnTo>
                <a:lnTo>
                  <a:pt x="54089" y="87299"/>
                </a:lnTo>
                <a:lnTo>
                  <a:pt x="60693" y="83261"/>
                </a:lnTo>
                <a:lnTo>
                  <a:pt x="67995" y="80581"/>
                </a:lnTo>
                <a:lnTo>
                  <a:pt x="76454" y="79616"/>
                </a:lnTo>
                <a:lnTo>
                  <a:pt x="86944" y="81076"/>
                </a:lnTo>
                <a:lnTo>
                  <a:pt x="93954" y="85382"/>
                </a:lnTo>
                <a:lnTo>
                  <a:pt x="97866" y="92430"/>
                </a:lnTo>
                <a:lnTo>
                  <a:pt x="99085" y="102095"/>
                </a:lnTo>
                <a:lnTo>
                  <a:pt x="99085" y="199936"/>
                </a:lnTo>
                <a:lnTo>
                  <a:pt x="146761" y="199936"/>
                </a:lnTo>
                <a:lnTo>
                  <a:pt x="146761" y="91160"/>
                </a:lnTo>
                <a:close/>
              </a:path>
              <a:path w="276225" h="203200">
                <a:moveTo>
                  <a:pt x="275818" y="47396"/>
                </a:moveTo>
                <a:lnTo>
                  <a:pt x="233603" y="47396"/>
                </a:lnTo>
                <a:lnTo>
                  <a:pt x="233603" y="0"/>
                </a:lnTo>
                <a:lnTo>
                  <a:pt x="185915" y="13373"/>
                </a:lnTo>
                <a:lnTo>
                  <a:pt x="185915" y="47396"/>
                </a:lnTo>
                <a:lnTo>
                  <a:pt x="161442" y="47396"/>
                </a:lnTo>
                <a:lnTo>
                  <a:pt x="161442" y="77787"/>
                </a:lnTo>
                <a:lnTo>
                  <a:pt x="185915" y="77787"/>
                </a:lnTo>
                <a:lnTo>
                  <a:pt x="185915" y="158000"/>
                </a:lnTo>
                <a:lnTo>
                  <a:pt x="190385" y="179908"/>
                </a:lnTo>
                <a:lnTo>
                  <a:pt x="202349" y="193713"/>
                </a:lnTo>
                <a:lnTo>
                  <a:pt x="219710" y="200901"/>
                </a:lnTo>
                <a:lnTo>
                  <a:pt x="240347" y="202971"/>
                </a:lnTo>
                <a:lnTo>
                  <a:pt x="248462" y="202666"/>
                </a:lnTo>
                <a:lnTo>
                  <a:pt x="257619" y="201841"/>
                </a:lnTo>
                <a:lnTo>
                  <a:pt x="275818" y="199326"/>
                </a:lnTo>
                <a:lnTo>
                  <a:pt x="272135" y="168338"/>
                </a:lnTo>
                <a:lnTo>
                  <a:pt x="267233" y="169557"/>
                </a:lnTo>
                <a:lnTo>
                  <a:pt x="262343" y="170154"/>
                </a:lnTo>
                <a:lnTo>
                  <a:pt x="257441" y="170154"/>
                </a:lnTo>
                <a:lnTo>
                  <a:pt x="248043" y="169278"/>
                </a:lnTo>
                <a:lnTo>
                  <a:pt x="240487" y="165836"/>
                </a:lnTo>
                <a:lnTo>
                  <a:pt x="235445" y="158623"/>
                </a:lnTo>
                <a:lnTo>
                  <a:pt x="233603" y="146456"/>
                </a:lnTo>
                <a:lnTo>
                  <a:pt x="233603" y="77787"/>
                </a:lnTo>
                <a:lnTo>
                  <a:pt x="275818" y="77787"/>
                </a:lnTo>
                <a:lnTo>
                  <a:pt x="275818" y="47396"/>
                </a:lnTo>
                <a:close/>
              </a:path>
            </a:pathLst>
          </a:custGeom>
          <a:solidFill>
            <a:srgbClr val="FDFDF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g object 18"/>
          <p:cNvSpPr/>
          <p:nvPr/>
        </p:nvSpPr>
        <p:spPr>
          <a:xfrm>
            <a:off x="11126292" y="6280315"/>
            <a:ext cx="127000" cy="124460"/>
          </a:xfrm>
          <a:custGeom>
            <a:avLst/>
            <a:gdLst/>
            <a:ahLst/>
            <a:cxnLst/>
            <a:rect l="l" t="t" r="r" b="b"/>
            <a:pathLst>
              <a:path w="127000" h="124460">
                <a:moveTo>
                  <a:pt x="126578" y="0"/>
                </a:moveTo>
                <a:lnTo>
                  <a:pt x="70180" y="11548"/>
                </a:lnTo>
                <a:lnTo>
                  <a:pt x="18342" y="39513"/>
                </a:lnTo>
                <a:lnTo>
                  <a:pt x="889" y="76086"/>
                </a:lnTo>
                <a:lnTo>
                  <a:pt x="0" y="89958"/>
                </a:lnTo>
                <a:lnTo>
                  <a:pt x="250" y="98688"/>
                </a:lnTo>
                <a:lnTo>
                  <a:pt x="1075" y="107422"/>
                </a:lnTo>
                <a:lnTo>
                  <a:pt x="2586" y="115930"/>
                </a:lnTo>
                <a:lnTo>
                  <a:pt x="4894" y="123984"/>
                </a:lnTo>
                <a:lnTo>
                  <a:pt x="10388" y="121429"/>
                </a:lnTo>
                <a:lnTo>
                  <a:pt x="17660" y="119956"/>
                </a:lnTo>
                <a:lnTo>
                  <a:pt x="25274" y="119282"/>
                </a:lnTo>
                <a:lnTo>
                  <a:pt x="46887" y="118921"/>
                </a:lnTo>
                <a:lnTo>
                  <a:pt x="61229" y="117070"/>
                </a:lnTo>
                <a:lnTo>
                  <a:pt x="101480" y="80856"/>
                </a:lnTo>
                <a:lnTo>
                  <a:pt x="113705" y="29609"/>
                </a:lnTo>
                <a:lnTo>
                  <a:pt x="126578" y="0"/>
                </a:lnTo>
                <a:close/>
              </a:path>
            </a:pathLst>
          </a:custGeom>
          <a:solidFill>
            <a:srgbClr val="FDFDF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bg object 19"/>
          <p:cNvSpPr/>
          <p:nvPr/>
        </p:nvSpPr>
        <p:spPr>
          <a:xfrm>
            <a:off x="10537380" y="6403695"/>
            <a:ext cx="457834" cy="240665"/>
          </a:xfrm>
          <a:custGeom>
            <a:avLst/>
            <a:gdLst/>
            <a:ahLst/>
            <a:cxnLst/>
            <a:rect l="l" t="t" r="r" b="b"/>
            <a:pathLst>
              <a:path w="457834" h="240665">
                <a:moveTo>
                  <a:pt x="130873" y="110604"/>
                </a:moveTo>
                <a:lnTo>
                  <a:pt x="105841" y="67360"/>
                </a:lnTo>
                <a:lnTo>
                  <a:pt x="68072" y="57645"/>
                </a:lnTo>
                <a:lnTo>
                  <a:pt x="61760" y="55918"/>
                </a:lnTo>
                <a:lnTo>
                  <a:pt x="55041" y="53479"/>
                </a:lnTo>
                <a:lnTo>
                  <a:pt x="51981" y="48615"/>
                </a:lnTo>
                <a:lnTo>
                  <a:pt x="51981" y="44361"/>
                </a:lnTo>
                <a:lnTo>
                  <a:pt x="53619" y="39039"/>
                </a:lnTo>
                <a:lnTo>
                  <a:pt x="58242" y="35026"/>
                </a:lnTo>
                <a:lnTo>
                  <a:pt x="65392" y="32486"/>
                </a:lnTo>
                <a:lnTo>
                  <a:pt x="74599" y="31597"/>
                </a:lnTo>
                <a:lnTo>
                  <a:pt x="84099" y="32308"/>
                </a:lnTo>
                <a:lnTo>
                  <a:pt x="94094" y="34036"/>
                </a:lnTo>
                <a:lnTo>
                  <a:pt x="103073" y="36220"/>
                </a:lnTo>
                <a:lnTo>
                  <a:pt x="109461" y="38290"/>
                </a:lnTo>
                <a:lnTo>
                  <a:pt x="121691" y="7289"/>
                </a:lnTo>
                <a:lnTo>
                  <a:pt x="110794" y="4610"/>
                </a:lnTo>
                <a:lnTo>
                  <a:pt x="98679" y="2286"/>
                </a:lnTo>
                <a:lnTo>
                  <a:pt x="84632" y="622"/>
                </a:lnTo>
                <a:lnTo>
                  <a:pt x="67881" y="0"/>
                </a:lnTo>
                <a:lnTo>
                  <a:pt x="42468" y="3619"/>
                </a:lnTo>
                <a:lnTo>
                  <a:pt x="22313" y="13906"/>
                </a:lnTo>
                <a:lnTo>
                  <a:pt x="9055" y="29997"/>
                </a:lnTo>
                <a:lnTo>
                  <a:pt x="4279" y="51054"/>
                </a:lnTo>
                <a:lnTo>
                  <a:pt x="7073" y="69265"/>
                </a:lnTo>
                <a:lnTo>
                  <a:pt x="14681" y="81889"/>
                </a:lnTo>
                <a:lnTo>
                  <a:pt x="25946" y="90182"/>
                </a:lnTo>
                <a:lnTo>
                  <a:pt x="39751" y="95415"/>
                </a:lnTo>
                <a:lnTo>
                  <a:pt x="72161" y="102704"/>
                </a:lnTo>
                <a:lnTo>
                  <a:pt x="79502" y="105130"/>
                </a:lnTo>
                <a:lnTo>
                  <a:pt x="83172" y="108178"/>
                </a:lnTo>
                <a:lnTo>
                  <a:pt x="83172" y="114249"/>
                </a:lnTo>
                <a:lnTo>
                  <a:pt x="80606" y="122262"/>
                </a:lnTo>
                <a:lnTo>
                  <a:pt x="74142" y="126860"/>
                </a:lnTo>
                <a:lnTo>
                  <a:pt x="65620" y="128955"/>
                </a:lnTo>
                <a:lnTo>
                  <a:pt x="56870" y="129438"/>
                </a:lnTo>
                <a:lnTo>
                  <a:pt x="45783" y="128511"/>
                </a:lnTo>
                <a:lnTo>
                  <a:pt x="34163" y="126098"/>
                </a:lnTo>
                <a:lnTo>
                  <a:pt x="22898" y="122783"/>
                </a:lnTo>
                <a:lnTo>
                  <a:pt x="12839" y="119113"/>
                </a:lnTo>
                <a:lnTo>
                  <a:pt x="0" y="150101"/>
                </a:lnTo>
                <a:lnTo>
                  <a:pt x="15100" y="155244"/>
                </a:lnTo>
                <a:lnTo>
                  <a:pt x="30416" y="158838"/>
                </a:lnTo>
                <a:lnTo>
                  <a:pt x="46431" y="160959"/>
                </a:lnTo>
                <a:lnTo>
                  <a:pt x="63601" y="161645"/>
                </a:lnTo>
                <a:lnTo>
                  <a:pt x="89585" y="158292"/>
                </a:lnTo>
                <a:lnTo>
                  <a:pt x="110998" y="148437"/>
                </a:lnTo>
                <a:lnTo>
                  <a:pt x="125514" y="132422"/>
                </a:lnTo>
                <a:lnTo>
                  <a:pt x="130873" y="110604"/>
                </a:lnTo>
                <a:close/>
              </a:path>
              <a:path w="457834" h="240665">
                <a:moveTo>
                  <a:pt x="299643" y="6680"/>
                </a:moveTo>
                <a:lnTo>
                  <a:pt x="255016" y="6680"/>
                </a:lnTo>
                <a:lnTo>
                  <a:pt x="226263" y="80822"/>
                </a:lnTo>
                <a:lnTo>
                  <a:pt x="217703" y="107569"/>
                </a:lnTo>
                <a:lnTo>
                  <a:pt x="213410" y="88938"/>
                </a:lnTo>
                <a:lnTo>
                  <a:pt x="183464" y="6680"/>
                </a:lnTo>
                <a:lnTo>
                  <a:pt x="132092" y="6680"/>
                </a:lnTo>
                <a:lnTo>
                  <a:pt x="191414" y="159219"/>
                </a:lnTo>
                <a:lnTo>
                  <a:pt x="179298" y="185369"/>
                </a:lnTo>
                <a:lnTo>
                  <a:pt x="170916" y="197510"/>
                </a:lnTo>
                <a:lnTo>
                  <a:pt x="160718" y="205536"/>
                </a:lnTo>
                <a:lnTo>
                  <a:pt x="147993" y="208445"/>
                </a:lnTo>
                <a:lnTo>
                  <a:pt x="141871" y="208445"/>
                </a:lnTo>
                <a:lnTo>
                  <a:pt x="135763" y="207835"/>
                </a:lnTo>
                <a:lnTo>
                  <a:pt x="127203" y="206019"/>
                </a:lnTo>
                <a:lnTo>
                  <a:pt x="120472" y="236397"/>
                </a:lnTo>
                <a:lnTo>
                  <a:pt x="135915" y="239433"/>
                </a:lnTo>
                <a:lnTo>
                  <a:pt x="144894" y="240334"/>
                </a:lnTo>
                <a:lnTo>
                  <a:pt x="155943" y="240652"/>
                </a:lnTo>
                <a:lnTo>
                  <a:pt x="178231" y="236982"/>
                </a:lnTo>
                <a:lnTo>
                  <a:pt x="197142" y="226758"/>
                </a:lnTo>
                <a:lnTo>
                  <a:pt x="212267" y="211175"/>
                </a:lnTo>
                <a:lnTo>
                  <a:pt x="223215" y="191427"/>
                </a:lnTo>
                <a:lnTo>
                  <a:pt x="299643" y="6680"/>
                </a:lnTo>
                <a:close/>
              </a:path>
              <a:path w="457834" h="240665">
                <a:moveTo>
                  <a:pt x="457428" y="50444"/>
                </a:moveTo>
                <a:lnTo>
                  <a:pt x="454101" y="30988"/>
                </a:lnTo>
                <a:lnTo>
                  <a:pt x="444512" y="16027"/>
                </a:lnTo>
                <a:lnTo>
                  <a:pt x="429310" y="6426"/>
                </a:lnTo>
                <a:lnTo>
                  <a:pt x="409117" y="3035"/>
                </a:lnTo>
                <a:lnTo>
                  <a:pt x="394779" y="4241"/>
                </a:lnTo>
                <a:lnTo>
                  <a:pt x="381127" y="7670"/>
                </a:lnTo>
                <a:lnTo>
                  <a:pt x="368173" y="13042"/>
                </a:lnTo>
                <a:lnTo>
                  <a:pt x="355904" y="20053"/>
                </a:lnTo>
                <a:lnTo>
                  <a:pt x="355904" y="6680"/>
                </a:lnTo>
                <a:lnTo>
                  <a:pt x="310045" y="6680"/>
                </a:lnTo>
                <a:lnTo>
                  <a:pt x="310045" y="159219"/>
                </a:lnTo>
                <a:lnTo>
                  <a:pt x="357746" y="159219"/>
                </a:lnTo>
                <a:lnTo>
                  <a:pt x="357746" y="51663"/>
                </a:lnTo>
                <a:lnTo>
                  <a:pt x="364134" y="46583"/>
                </a:lnTo>
                <a:lnTo>
                  <a:pt x="370814" y="42545"/>
                </a:lnTo>
                <a:lnTo>
                  <a:pt x="378294" y="39865"/>
                </a:lnTo>
                <a:lnTo>
                  <a:pt x="387096" y="38900"/>
                </a:lnTo>
                <a:lnTo>
                  <a:pt x="397243" y="40360"/>
                </a:lnTo>
                <a:lnTo>
                  <a:pt x="404075" y="44665"/>
                </a:lnTo>
                <a:lnTo>
                  <a:pt x="407911" y="51714"/>
                </a:lnTo>
                <a:lnTo>
                  <a:pt x="409117" y="61379"/>
                </a:lnTo>
                <a:lnTo>
                  <a:pt x="409117" y="159219"/>
                </a:lnTo>
                <a:lnTo>
                  <a:pt x="457428" y="159219"/>
                </a:lnTo>
                <a:lnTo>
                  <a:pt x="457428" y="50444"/>
                </a:lnTo>
                <a:close/>
              </a:path>
            </a:pathLst>
          </a:custGeom>
          <a:solidFill>
            <a:srgbClr val="FDFDF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bg object 20"/>
          <p:cNvSpPr/>
          <p:nvPr/>
        </p:nvSpPr>
        <p:spPr>
          <a:xfrm>
            <a:off x="11634474" y="6406729"/>
            <a:ext cx="137160" cy="159385"/>
          </a:xfrm>
          <a:custGeom>
            <a:avLst/>
            <a:gdLst/>
            <a:ahLst/>
            <a:cxnLst/>
            <a:rect l="l" t="t" r="r" b="b"/>
            <a:pathLst>
              <a:path w="137159" h="159384">
                <a:moveTo>
                  <a:pt x="133845" y="32816"/>
                </a:moveTo>
                <a:lnTo>
                  <a:pt x="63604" y="32816"/>
                </a:lnTo>
                <a:lnTo>
                  <a:pt x="77099" y="34345"/>
                </a:lnTo>
                <a:lnTo>
                  <a:pt x="85311" y="38665"/>
                </a:lnTo>
                <a:lnTo>
                  <a:pt x="89394" y="45378"/>
                </a:lnTo>
                <a:lnTo>
                  <a:pt x="90499" y="54085"/>
                </a:lnTo>
                <a:lnTo>
                  <a:pt x="90499" y="58340"/>
                </a:lnTo>
                <a:lnTo>
                  <a:pt x="59850" y="60362"/>
                </a:lnTo>
                <a:lnTo>
                  <a:pt x="30575" y="68595"/>
                </a:lnTo>
                <a:lnTo>
                  <a:pt x="8637" y="86285"/>
                </a:lnTo>
                <a:lnTo>
                  <a:pt x="0" y="116680"/>
                </a:lnTo>
                <a:lnTo>
                  <a:pt x="3593" y="135633"/>
                </a:lnTo>
                <a:lnTo>
                  <a:pt x="13608" y="148889"/>
                </a:lnTo>
                <a:lnTo>
                  <a:pt x="28898" y="156675"/>
                </a:lnTo>
                <a:lnTo>
                  <a:pt x="48315" y="159220"/>
                </a:lnTo>
                <a:lnTo>
                  <a:pt x="60789" y="158299"/>
                </a:lnTo>
                <a:lnTo>
                  <a:pt x="72400" y="155498"/>
                </a:lnTo>
                <a:lnTo>
                  <a:pt x="82975" y="150760"/>
                </a:lnTo>
                <a:lnTo>
                  <a:pt x="92341" y="144027"/>
                </a:lnTo>
                <a:lnTo>
                  <a:pt x="136998" y="144027"/>
                </a:lnTo>
                <a:lnTo>
                  <a:pt x="136998" y="127010"/>
                </a:lnTo>
                <a:lnTo>
                  <a:pt x="67263" y="127010"/>
                </a:lnTo>
                <a:lnTo>
                  <a:pt x="60694" y="126232"/>
                </a:lnTo>
                <a:lnTo>
                  <a:pt x="54581" y="123516"/>
                </a:lnTo>
                <a:lnTo>
                  <a:pt x="50073" y="118294"/>
                </a:lnTo>
                <a:lnTo>
                  <a:pt x="48315" y="109996"/>
                </a:lnTo>
                <a:lnTo>
                  <a:pt x="51812" y="97680"/>
                </a:lnTo>
                <a:lnTo>
                  <a:pt x="61157" y="90777"/>
                </a:lnTo>
                <a:lnTo>
                  <a:pt x="74627" y="87861"/>
                </a:lnTo>
                <a:lnTo>
                  <a:pt x="90499" y="87509"/>
                </a:lnTo>
                <a:lnTo>
                  <a:pt x="136998" y="87509"/>
                </a:lnTo>
                <a:lnTo>
                  <a:pt x="136998" y="48008"/>
                </a:lnTo>
                <a:lnTo>
                  <a:pt x="133845" y="32816"/>
                </a:lnTo>
                <a:close/>
              </a:path>
              <a:path w="137159" h="159384">
                <a:moveTo>
                  <a:pt x="136998" y="144027"/>
                </a:moveTo>
                <a:lnTo>
                  <a:pt x="92341" y="144027"/>
                </a:lnTo>
                <a:lnTo>
                  <a:pt x="92341" y="156182"/>
                </a:lnTo>
                <a:lnTo>
                  <a:pt x="136998" y="156182"/>
                </a:lnTo>
                <a:lnTo>
                  <a:pt x="136998" y="144027"/>
                </a:lnTo>
                <a:close/>
              </a:path>
              <a:path w="137159" h="159384">
                <a:moveTo>
                  <a:pt x="136998" y="87509"/>
                </a:moveTo>
                <a:lnTo>
                  <a:pt x="90499" y="87509"/>
                </a:lnTo>
                <a:lnTo>
                  <a:pt x="90499" y="115464"/>
                </a:lnTo>
                <a:lnTo>
                  <a:pt x="85925" y="120088"/>
                </a:lnTo>
                <a:lnTo>
                  <a:pt x="80489" y="123744"/>
                </a:lnTo>
                <a:lnTo>
                  <a:pt x="74027" y="126232"/>
                </a:lnTo>
                <a:lnTo>
                  <a:pt x="73558" y="126232"/>
                </a:lnTo>
                <a:lnTo>
                  <a:pt x="67263" y="127010"/>
                </a:lnTo>
                <a:lnTo>
                  <a:pt x="136998" y="127010"/>
                </a:lnTo>
                <a:lnTo>
                  <a:pt x="136998" y="87509"/>
                </a:lnTo>
                <a:close/>
              </a:path>
              <a:path w="137159" h="159384">
                <a:moveTo>
                  <a:pt x="76446" y="0"/>
                </a:moveTo>
                <a:lnTo>
                  <a:pt x="58429" y="1405"/>
                </a:lnTo>
                <a:lnTo>
                  <a:pt x="40522" y="5317"/>
                </a:lnTo>
                <a:lnTo>
                  <a:pt x="23301" y="11280"/>
                </a:lnTo>
                <a:lnTo>
                  <a:pt x="7341" y="18839"/>
                </a:lnTo>
                <a:lnTo>
                  <a:pt x="18972" y="46794"/>
                </a:lnTo>
                <a:lnTo>
                  <a:pt x="28692" y="41789"/>
                </a:lnTo>
                <a:lnTo>
                  <a:pt x="39907" y="37298"/>
                </a:lnTo>
                <a:lnTo>
                  <a:pt x="51812" y="34060"/>
                </a:lnTo>
                <a:lnTo>
                  <a:pt x="63604" y="32816"/>
                </a:lnTo>
                <a:lnTo>
                  <a:pt x="133845" y="32816"/>
                </a:lnTo>
                <a:lnTo>
                  <a:pt x="132781" y="27688"/>
                </a:lnTo>
                <a:lnTo>
                  <a:pt x="120706" y="12609"/>
                </a:lnTo>
                <a:lnTo>
                  <a:pt x="101639" y="3228"/>
                </a:lnTo>
                <a:lnTo>
                  <a:pt x="76446" y="0"/>
                </a:lnTo>
                <a:close/>
              </a:path>
            </a:pathLst>
          </a:custGeom>
          <a:solidFill>
            <a:srgbClr val="FDFDF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bg object 21"/>
          <p:cNvSpPr/>
          <p:nvPr/>
        </p:nvSpPr>
        <p:spPr>
          <a:xfrm>
            <a:off x="11010710" y="6406134"/>
            <a:ext cx="317500" cy="241300"/>
          </a:xfrm>
          <a:custGeom>
            <a:avLst/>
            <a:gdLst/>
            <a:ahLst/>
            <a:cxnLst/>
            <a:rect l="l" t="t" r="r" b="b"/>
            <a:pathLst>
              <a:path w="317500" h="241300">
                <a:moveTo>
                  <a:pt x="165100" y="175628"/>
                </a:moveTo>
                <a:lnTo>
                  <a:pt x="150050" y="137871"/>
                </a:lnTo>
                <a:lnTo>
                  <a:pt x="116814" y="126263"/>
                </a:lnTo>
                <a:lnTo>
                  <a:pt x="116814" y="181698"/>
                </a:lnTo>
                <a:lnTo>
                  <a:pt x="115570" y="186563"/>
                </a:lnTo>
                <a:lnTo>
                  <a:pt x="113792" y="193243"/>
                </a:lnTo>
                <a:lnTo>
                  <a:pt x="105791" y="201752"/>
                </a:lnTo>
                <a:lnTo>
                  <a:pt x="93573" y="207162"/>
                </a:lnTo>
                <a:lnTo>
                  <a:pt x="78257" y="209042"/>
                </a:lnTo>
                <a:lnTo>
                  <a:pt x="63030" y="207492"/>
                </a:lnTo>
                <a:lnTo>
                  <a:pt x="50368" y="203047"/>
                </a:lnTo>
                <a:lnTo>
                  <a:pt x="41719" y="195973"/>
                </a:lnTo>
                <a:lnTo>
                  <a:pt x="38519" y="186563"/>
                </a:lnTo>
                <a:lnTo>
                  <a:pt x="40157" y="179298"/>
                </a:lnTo>
                <a:lnTo>
                  <a:pt x="44259" y="173113"/>
                </a:lnTo>
                <a:lnTo>
                  <a:pt x="49618" y="168186"/>
                </a:lnTo>
                <a:lnTo>
                  <a:pt x="55029" y="164680"/>
                </a:lnTo>
                <a:lnTo>
                  <a:pt x="96634" y="164680"/>
                </a:lnTo>
                <a:lnTo>
                  <a:pt x="116814" y="181698"/>
                </a:lnTo>
                <a:lnTo>
                  <a:pt x="116814" y="126263"/>
                </a:lnTo>
                <a:lnTo>
                  <a:pt x="108839" y="125183"/>
                </a:lnTo>
                <a:lnTo>
                  <a:pt x="70319" y="125183"/>
                </a:lnTo>
                <a:lnTo>
                  <a:pt x="63855" y="124714"/>
                </a:lnTo>
                <a:lnTo>
                  <a:pt x="56184" y="122821"/>
                </a:lnTo>
                <a:lnTo>
                  <a:pt x="49758" y="118770"/>
                </a:lnTo>
                <a:lnTo>
                  <a:pt x="47078" y="111810"/>
                </a:lnTo>
                <a:lnTo>
                  <a:pt x="47078" y="105740"/>
                </a:lnTo>
                <a:lnTo>
                  <a:pt x="55029" y="100876"/>
                </a:lnTo>
                <a:lnTo>
                  <a:pt x="58712" y="98437"/>
                </a:lnTo>
                <a:lnTo>
                  <a:pt x="70942" y="100876"/>
                </a:lnTo>
                <a:lnTo>
                  <a:pt x="77660" y="100876"/>
                </a:lnTo>
                <a:lnTo>
                  <a:pt x="101193" y="98437"/>
                </a:lnTo>
                <a:lnTo>
                  <a:pt x="104609" y="98094"/>
                </a:lnTo>
                <a:lnTo>
                  <a:pt x="128117" y="89103"/>
                </a:lnTo>
                <a:lnTo>
                  <a:pt x="143497" y="74129"/>
                </a:lnTo>
                <a:lnTo>
                  <a:pt x="144741" y="72923"/>
                </a:lnTo>
                <a:lnTo>
                  <a:pt x="151053" y="48615"/>
                </a:lnTo>
                <a:lnTo>
                  <a:pt x="146100" y="27343"/>
                </a:lnTo>
                <a:lnTo>
                  <a:pt x="145338" y="24091"/>
                </a:lnTo>
                <a:lnTo>
                  <a:pt x="130175" y="9258"/>
                </a:lnTo>
                <a:lnTo>
                  <a:pt x="108470" y="1955"/>
                </a:lnTo>
                <a:lnTo>
                  <a:pt x="104571" y="1663"/>
                </a:lnTo>
                <a:lnTo>
                  <a:pt x="104571" y="50431"/>
                </a:lnTo>
                <a:lnTo>
                  <a:pt x="103085" y="59524"/>
                </a:lnTo>
                <a:lnTo>
                  <a:pt x="98615" y="67068"/>
                </a:lnTo>
                <a:lnTo>
                  <a:pt x="91160" y="72224"/>
                </a:lnTo>
                <a:lnTo>
                  <a:pt x="80708" y="74129"/>
                </a:lnTo>
                <a:lnTo>
                  <a:pt x="70993" y="72224"/>
                </a:lnTo>
                <a:lnTo>
                  <a:pt x="63906" y="67068"/>
                </a:lnTo>
                <a:lnTo>
                  <a:pt x="59575" y="59524"/>
                </a:lnTo>
                <a:lnTo>
                  <a:pt x="58102" y="50431"/>
                </a:lnTo>
                <a:lnTo>
                  <a:pt x="59753" y="42214"/>
                </a:lnTo>
                <a:lnTo>
                  <a:pt x="64439" y="34785"/>
                </a:lnTo>
                <a:lnTo>
                  <a:pt x="71767" y="29413"/>
                </a:lnTo>
                <a:lnTo>
                  <a:pt x="81343" y="27343"/>
                </a:lnTo>
                <a:lnTo>
                  <a:pt x="91681" y="29159"/>
                </a:lnTo>
                <a:lnTo>
                  <a:pt x="98920" y="34099"/>
                </a:lnTo>
                <a:lnTo>
                  <a:pt x="103174" y="41440"/>
                </a:lnTo>
                <a:lnTo>
                  <a:pt x="104482" y="49822"/>
                </a:lnTo>
                <a:lnTo>
                  <a:pt x="104571" y="50431"/>
                </a:lnTo>
                <a:lnTo>
                  <a:pt x="104571" y="1663"/>
                </a:lnTo>
                <a:lnTo>
                  <a:pt x="54952" y="3162"/>
                </a:lnTo>
                <a:lnTo>
                  <a:pt x="17106" y="28194"/>
                </a:lnTo>
                <a:lnTo>
                  <a:pt x="11607" y="49822"/>
                </a:lnTo>
                <a:lnTo>
                  <a:pt x="13563" y="65443"/>
                </a:lnTo>
                <a:lnTo>
                  <a:pt x="18567" y="75882"/>
                </a:lnTo>
                <a:lnTo>
                  <a:pt x="25298" y="82562"/>
                </a:lnTo>
                <a:lnTo>
                  <a:pt x="32423" y="86893"/>
                </a:lnTo>
                <a:lnTo>
                  <a:pt x="21120" y="94488"/>
                </a:lnTo>
                <a:lnTo>
                  <a:pt x="11760" y="103454"/>
                </a:lnTo>
                <a:lnTo>
                  <a:pt x="5397" y="113563"/>
                </a:lnTo>
                <a:lnTo>
                  <a:pt x="3048" y="124574"/>
                </a:lnTo>
                <a:lnTo>
                  <a:pt x="3048" y="136118"/>
                </a:lnTo>
                <a:lnTo>
                  <a:pt x="6731" y="143408"/>
                </a:lnTo>
                <a:lnTo>
                  <a:pt x="10998" y="148272"/>
                </a:lnTo>
                <a:lnTo>
                  <a:pt x="14681" y="152527"/>
                </a:lnTo>
                <a:lnTo>
                  <a:pt x="19570" y="154965"/>
                </a:lnTo>
                <a:lnTo>
                  <a:pt x="24472" y="158000"/>
                </a:lnTo>
                <a:lnTo>
                  <a:pt x="16776" y="163588"/>
                </a:lnTo>
                <a:lnTo>
                  <a:pt x="8788" y="171297"/>
                </a:lnTo>
                <a:lnTo>
                  <a:pt x="2527" y="181152"/>
                </a:lnTo>
                <a:lnTo>
                  <a:pt x="0" y="193243"/>
                </a:lnTo>
                <a:lnTo>
                  <a:pt x="6426" y="216382"/>
                </a:lnTo>
                <a:lnTo>
                  <a:pt x="23469" y="231152"/>
                </a:lnTo>
                <a:lnTo>
                  <a:pt x="47739" y="238963"/>
                </a:lnTo>
                <a:lnTo>
                  <a:pt x="75844" y="241249"/>
                </a:lnTo>
                <a:lnTo>
                  <a:pt x="108610" y="236982"/>
                </a:lnTo>
                <a:lnTo>
                  <a:pt x="137210" y="224840"/>
                </a:lnTo>
                <a:lnTo>
                  <a:pt x="152920" y="209042"/>
                </a:lnTo>
                <a:lnTo>
                  <a:pt x="157429" y="204508"/>
                </a:lnTo>
                <a:lnTo>
                  <a:pt x="165100" y="175628"/>
                </a:lnTo>
                <a:close/>
              </a:path>
              <a:path w="317500" h="241300">
                <a:moveTo>
                  <a:pt x="317385" y="74739"/>
                </a:moveTo>
                <a:lnTo>
                  <a:pt x="307378" y="32804"/>
                </a:lnTo>
                <a:lnTo>
                  <a:pt x="279336" y="6134"/>
                </a:lnTo>
                <a:lnTo>
                  <a:pt x="279781" y="6134"/>
                </a:lnTo>
                <a:lnTo>
                  <a:pt x="268465" y="4292"/>
                </a:lnTo>
                <a:lnTo>
                  <a:pt x="268465" y="60159"/>
                </a:lnTo>
                <a:lnTo>
                  <a:pt x="215861" y="60159"/>
                </a:lnTo>
                <a:lnTo>
                  <a:pt x="219062" y="49212"/>
                </a:lnTo>
                <a:lnTo>
                  <a:pt x="224891" y="40563"/>
                </a:lnTo>
                <a:lnTo>
                  <a:pt x="233235" y="34861"/>
                </a:lnTo>
                <a:lnTo>
                  <a:pt x="243992" y="32804"/>
                </a:lnTo>
                <a:lnTo>
                  <a:pt x="254876" y="34683"/>
                </a:lnTo>
                <a:lnTo>
                  <a:pt x="262661" y="40106"/>
                </a:lnTo>
                <a:lnTo>
                  <a:pt x="267220" y="48704"/>
                </a:lnTo>
                <a:lnTo>
                  <a:pt x="268465" y="60159"/>
                </a:lnTo>
                <a:lnTo>
                  <a:pt x="268465" y="4292"/>
                </a:lnTo>
                <a:lnTo>
                  <a:pt x="215328" y="6134"/>
                </a:lnTo>
                <a:lnTo>
                  <a:pt x="171272" y="47256"/>
                </a:lnTo>
                <a:lnTo>
                  <a:pt x="164503" y="80822"/>
                </a:lnTo>
                <a:lnTo>
                  <a:pt x="169926" y="113677"/>
                </a:lnTo>
                <a:lnTo>
                  <a:pt x="185445" y="138557"/>
                </a:lnTo>
                <a:lnTo>
                  <a:pt x="209905" y="154317"/>
                </a:lnTo>
                <a:lnTo>
                  <a:pt x="242150" y="159816"/>
                </a:lnTo>
                <a:lnTo>
                  <a:pt x="260870" y="158686"/>
                </a:lnTo>
                <a:lnTo>
                  <a:pt x="278549" y="155346"/>
                </a:lnTo>
                <a:lnTo>
                  <a:pt x="295300" y="149821"/>
                </a:lnTo>
                <a:lnTo>
                  <a:pt x="311264" y="142201"/>
                </a:lnTo>
                <a:lnTo>
                  <a:pt x="303720" y="125793"/>
                </a:lnTo>
                <a:lnTo>
                  <a:pt x="298424" y="114249"/>
                </a:lnTo>
                <a:lnTo>
                  <a:pt x="291274" y="118097"/>
                </a:lnTo>
                <a:lnTo>
                  <a:pt x="281609" y="121843"/>
                </a:lnTo>
                <a:lnTo>
                  <a:pt x="270560" y="124663"/>
                </a:lnTo>
                <a:lnTo>
                  <a:pt x="259283" y="125793"/>
                </a:lnTo>
                <a:lnTo>
                  <a:pt x="238810" y="123355"/>
                </a:lnTo>
                <a:lnTo>
                  <a:pt x="225348" y="116370"/>
                </a:lnTo>
                <a:lnTo>
                  <a:pt x="217830" y="105283"/>
                </a:lnTo>
                <a:lnTo>
                  <a:pt x="215265" y="90538"/>
                </a:lnTo>
                <a:lnTo>
                  <a:pt x="317385" y="90538"/>
                </a:lnTo>
                <a:lnTo>
                  <a:pt x="317385" y="74739"/>
                </a:lnTo>
                <a:close/>
              </a:path>
            </a:pathLst>
          </a:custGeom>
          <a:solidFill>
            <a:srgbClr val="FDFDFD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2" name="bg object 2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381000" y="305193"/>
            <a:ext cx="1330452" cy="574535"/>
          </a:xfrm>
          <a:prstGeom prst="rect">
            <a:avLst/>
          </a:prstGeom>
        </p:spPr>
      </p:pic>
      <p:sp>
        <p:nvSpPr>
          <p:cNvPr id="23" name="bg object 23"/>
          <p:cNvSpPr/>
          <p:nvPr/>
        </p:nvSpPr>
        <p:spPr>
          <a:xfrm>
            <a:off x="400037" y="6324600"/>
            <a:ext cx="2343785" cy="0"/>
          </a:xfrm>
          <a:custGeom>
            <a:avLst/>
            <a:gdLst/>
            <a:ahLst/>
            <a:cxnLst/>
            <a:rect l="l" t="t" r="r" b="b"/>
            <a:pathLst>
              <a:path w="2343785">
                <a:moveTo>
                  <a:pt x="0" y="0"/>
                </a:moveTo>
                <a:lnTo>
                  <a:pt x="2343162" y="0"/>
                </a:lnTo>
              </a:path>
            </a:pathLst>
          </a:custGeom>
          <a:ln w="63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4" name="bg object 2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8255254" y="0"/>
            <a:ext cx="3936746" cy="6857998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200" b="1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1045"/>
              </a:lnSpc>
            </a:pPr>
            <a:r>
              <a:rPr spc="-10" dirty="0"/>
              <a:t>КЛАССИФИКАЦИЯ:</a:t>
            </a:r>
            <a:r>
              <a:rPr spc="75" dirty="0"/>
              <a:t> </a:t>
            </a:r>
            <a:r>
              <a:rPr spc="-10" dirty="0"/>
              <a:t>ПУБЛИЧНО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3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 marL="38100">
              <a:lnSpc>
                <a:spcPts val="1045"/>
              </a:lnSpc>
            </a:pPr>
            <a:fld id="{81D60167-4931-47E6-BA6A-407CBD079E47}" type="slidenum">
              <a:rPr spc="-50" dirty="0"/>
              <a:t>‹#›</a:t>
            </a:fld>
            <a:endParaRPr spc="-50" dirty="0"/>
          </a:p>
        </p:txBody>
      </p:sp>
    </p:spTree>
    <p:extLst>
      <p:ext uri="{BB962C8B-B14F-4D97-AF65-F5344CB8AC3E}">
        <p14:creationId xmlns:p14="http://schemas.microsoft.com/office/powerpoint/2010/main" val="104778407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200" b="1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1045"/>
              </a:lnSpc>
            </a:pPr>
            <a:r>
              <a:rPr spc="-10" dirty="0"/>
              <a:t>КЛАССИФИКАЦИЯ:</a:t>
            </a:r>
            <a:r>
              <a:rPr spc="75" dirty="0"/>
              <a:t> </a:t>
            </a:r>
            <a:r>
              <a:rPr spc="-10" dirty="0"/>
              <a:t>ПУБЛИЧНО</a:t>
            </a: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3/2025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 marL="38100">
              <a:lnSpc>
                <a:spcPts val="1045"/>
              </a:lnSpc>
            </a:pPr>
            <a:fld id="{81D60167-4931-47E6-BA6A-407CBD079E47}" type="slidenum">
              <a:rPr spc="-50" dirty="0"/>
              <a:t>‹#›</a:t>
            </a:fld>
            <a:endParaRPr spc="-50" dirty="0"/>
          </a:p>
        </p:txBody>
      </p:sp>
    </p:spTree>
    <p:extLst>
      <p:ext uri="{BB962C8B-B14F-4D97-AF65-F5344CB8AC3E}">
        <p14:creationId xmlns:p14="http://schemas.microsoft.com/office/powerpoint/2010/main" val="234492734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00412C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7" name="bg object 17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821563" y="714768"/>
            <a:ext cx="2649219" cy="1143495"/>
          </a:xfrm>
          <a:prstGeom prst="rect">
            <a:avLst/>
          </a:prstGeom>
        </p:spPr>
      </p:pic>
      <p:sp>
        <p:nvSpPr>
          <p:cNvPr id="18" name="bg object 18"/>
          <p:cNvSpPr/>
          <p:nvPr/>
        </p:nvSpPr>
        <p:spPr>
          <a:xfrm>
            <a:off x="11349495" y="6362979"/>
            <a:ext cx="276225" cy="203200"/>
          </a:xfrm>
          <a:custGeom>
            <a:avLst/>
            <a:gdLst/>
            <a:ahLst/>
            <a:cxnLst/>
            <a:rect l="l" t="t" r="r" b="b"/>
            <a:pathLst>
              <a:path w="276225" h="203200">
                <a:moveTo>
                  <a:pt x="146761" y="91160"/>
                </a:moveTo>
                <a:lnTo>
                  <a:pt x="143522" y="71704"/>
                </a:lnTo>
                <a:lnTo>
                  <a:pt x="134150" y="56743"/>
                </a:lnTo>
                <a:lnTo>
                  <a:pt x="119164" y="47142"/>
                </a:lnTo>
                <a:lnTo>
                  <a:pt x="99085" y="43751"/>
                </a:lnTo>
                <a:lnTo>
                  <a:pt x="84734" y="44958"/>
                </a:lnTo>
                <a:lnTo>
                  <a:pt x="71094" y="48387"/>
                </a:lnTo>
                <a:lnTo>
                  <a:pt x="58140" y="53759"/>
                </a:lnTo>
                <a:lnTo>
                  <a:pt x="45872" y="60769"/>
                </a:lnTo>
                <a:lnTo>
                  <a:pt x="45872" y="47396"/>
                </a:lnTo>
                <a:lnTo>
                  <a:pt x="0" y="47396"/>
                </a:lnTo>
                <a:lnTo>
                  <a:pt x="0" y="199936"/>
                </a:lnTo>
                <a:lnTo>
                  <a:pt x="47713" y="199936"/>
                </a:lnTo>
                <a:lnTo>
                  <a:pt x="47713" y="92379"/>
                </a:lnTo>
                <a:lnTo>
                  <a:pt x="54089" y="87299"/>
                </a:lnTo>
                <a:lnTo>
                  <a:pt x="60693" y="83261"/>
                </a:lnTo>
                <a:lnTo>
                  <a:pt x="67995" y="80581"/>
                </a:lnTo>
                <a:lnTo>
                  <a:pt x="76454" y="79616"/>
                </a:lnTo>
                <a:lnTo>
                  <a:pt x="86944" y="81076"/>
                </a:lnTo>
                <a:lnTo>
                  <a:pt x="93954" y="85382"/>
                </a:lnTo>
                <a:lnTo>
                  <a:pt x="97866" y="92430"/>
                </a:lnTo>
                <a:lnTo>
                  <a:pt x="99085" y="102095"/>
                </a:lnTo>
                <a:lnTo>
                  <a:pt x="99085" y="199936"/>
                </a:lnTo>
                <a:lnTo>
                  <a:pt x="146761" y="199936"/>
                </a:lnTo>
                <a:lnTo>
                  <a:pt x="146761" y="91160"/>
                </a:lnTo>
                <a:close/>
              </a:path>
              <a:path w="276225" h="203200">
                <a:moveTo>
                  <a:pt x="275818" y="47396"/>
                </a:moveTo>
                <a:lnTo>
                  <a:pt x="233603" y="47396"/>
                </a:lnTo>
                <a:lnTo>
                  <a:pt x="233603" y="0"/>
                </a:lnTo>
                <a:lnTo>
                  <a:pt x="185915" y="13373"/>
                </a:lnTo>
                <a:lnTo>
                  <a:pt x="185915" y="47396"/>
                </a:lnTo>
                <a:lnTo>
                  <a:pt x="161442" y="47396"/>
                </a:lnTo>
                <a:lnTo>
                  <a:pt x="161442" y="77787"/>
                </a:lnTo>
                <a:lnTo>
                  <a:pt x="185915" y="77787"/>
                </a:lnTo>
                <a:lnTo>
                  <a:pt x="185915" y="158000"/>
                </a:lnTo>
                <a:lnTo>
                  <a:pt x="190385" y="179908"/>
                </a:lnTo>
                <a:lnTo>
                  <a:pt x="202349" y="193713"/>
                </a:lnTo>
                <a:lnTo>
                  <a:pt x="219710" y="200901"/>
                </a:lnTo>
                <a:lnTo>
                  <a:pt x="240347" y="202971"/>
                </a:lnTo>
                <a:lnTo>
                  <a:pt x="248462" y="202666"/>
                </a:lnTo>
                <a:lnTo>
                  <a:pt x="257619" y="201841"/>
                </a:lnTo>
                <a:lnTo>
                  <a:pt x="275818" y="199326"/>
                </a:lnTo>
                <a:lnTo>
                  <a:pt x="272135" y="168338"/>
                </a:lnTo>
                <a:lnTo>
                  <a:pt x="267233" y="169557"/>
                </a:lnTo>
                <a:lnTo>
                  <a:pt x="262343" y="170154"/>
                </a:lnTo>
                <a:lnTo>
                  <a:pt x="257441" y="170154"/>
                </a:lnTo>
                <a:lnTo>
                  <a:pt x="248043" y="169278"/>
                </a:lnTo>
                <a:lnTo>
                  <a:pt x="240487" y="165836"/>
                </a:lnTo>
                <a:lnTo>
                  <a:pt x="235445" y="158623"/>
                </a:lnTo>
                <a:lnTo>
                  <a:pt x="233603" y="146456"/>
                </a:lnTo>
                <a:lnTo>
                  <a:pt x="233603" y="77787"/>
                </a:lnTo>
                <a:lnTo>
                  <a:pt x="275818" y="77787"/>
                </a:lnTo>
                <a:lnTo>
                  <a:pt x="275818" y="47396"/>
                </a:lnTo>
                <a:close/>
              </a:path>
            </a:pathLst>
          </a:custGeom>
          <a:solidFill>
            <a:srgbClr val="FDFDF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bg object 19"/>
          <p:cNvSpPr/>
          <p:nvPr/>
        </p:nvSpPr>
        <p:spPr>
          <a:xfrm>
            <a:off x="11126292" y="6280315"/>
            <a:ext cx="127000" cy="124460"/>
          </a:xfrm>
          <a:custGeom>
            <a:avLst/>
            <a:gdLst/>
            <a:ahLst/>
            <a:cxnLst/>
            <a:rect l="l" t="t" r="r" b="b"/>
            <a:pathLst>
              <a:path w="127000" h="124460">
                <a:moveTo>
                  <a:pt x="126578" y="0"/>
                </a:moveTo>
                <a:lnTo>
                  <a:pt x="70180" y="11548"/>
                </a:lnTo>
                <a:lnTo>
                  <a:pt x="18342" y="39513"/>
                </a:lnTo>
                <a:lnTo>
                  <a:pt x="889" y="76086"/>
                </a:lnTo>
                <a:lnTo>
                  <a:pt x="0" y="89958"/>
                </a:lnTo>
                <a:lnTo>
                  <a:pt x="250" y="98688"/>
                </a:lnTo>
                <a:lnTo>
                  <a:pt x="1075" y="107422"/>
                </a:lnTo>
                <a:lnTo>
                  <a:pt x="2586" y="115930"/>
                </a:lnTo>
                <a:lnTo>
                  <a:pt x="4894" y="123984"/>
                </a:lnTo>
                <a:lnTo>
                  <a:pt x="10388" y="121429"/>
                </a:lnTo>
                <a:lnTo>
                  <a:pt x="17660" y="119956"/>
                </a:lnTo>
                <a:lnTo>
                  <a:pt x="25274" y="119282"/>
                </a:lnTo>
                <a:lnTo>
                  <a:pt x="46887" y="118921"/>
                </a:lnTo>
                <a:lnTo>
                  <a:pt x="61229" y="117070"/>
                </a:lnTo>
                <a:lnTo>
                  <a:pt x="101480" y="80856"/>
                </a:lnTo>
                <a:lnTo>
                  <a:pt x="113705" y="29609"/>
                </a:lnTo>
                <a:lnTo>
                  <a:pt x="126578" y="0"/>
                </a:lnTo>
                <a:close/>
              </a:path>
            </a:pathLst>
          </a:custGeom>
          <a:solidFill>
            <a:srgbClr val="FDFDF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bg object 20"/>
          <p:cNvSpPr/>
          <p:nvPr/>
        </p:nvSpPr>
        <p:spPr>
          <a:xfrm>
            <a:off x="10537380" y="6403695"/>
            <a:ext cx="457834" cy="240665"/>
          </a:xfrm>
          <a:custGeom>
            <a:avLst/>
            <a:gdLst/>
            <a:ahLst/>
            <a:cxnLst/>
            <a:rect l="l" t="t" r="r" b="b"/>
            <a:pathLst>
              <a:path w="457834" h="240665">
                <a:moveTo>
                  <a:pt x="130873" y="110604"/>
                </a:moveTo>
                <a:lnTo>
                  <a:pt x="105841" y="67360"/>
                </a:lnTo>
                <a:lnTo>
                  <a:pt x="68072" y="57645"/>
                </a:lnTo>
                <a:lnTo>
                  <a:pt x="61760" y="55918"/>
                </a:lnTo>
                <a:lnTo>
                  <a:pt x="55041" y="53479"/>
                </a:lnTo>
                <a:lnTo>
                  <a:pt x="51981" y="48615"/>
                </a:lnTo>
                <a:lnTo>
                  <a:pt x="51981" y="44361"/>
                </a:lnTo>
                <a:lnTo>
                  <a:pt x="53619" y="39039"/>
                </a:lnTo>
                <a:lnTo>
                  <a:pt x="58242" y="35026"/>
                </a:lnTo>
                <a:lnTo>
                  <a:pt x="65392" y="32486"/>
                </a:lnTo>
                <a:lnTo>
                  <a:pt x="74599" y="31597"/>
                </a:lnTo>
                <a:lnTo>
                  <a:pt x="84099" y="32308"/>
                </a:lnTo>
                <a:lnTo>
                  <a:pt x="94094" y="34036"/>
                </a:lnTo>
                <a:lnTo>
                  <a:pt x="103073" y="36220"/>
                </a:lnTo>
                <a:lnTo>
                  <a:pt x="109461" y="38290"/>
                </a:lnTo>
                <a:lnTo>
                  <a:pt x="121691" y="7289"/>
                </a:lnTo>
                <a:lnTo>
                  <a:pt x="110794" y="4610"/>
                </a:lnTo>
                <a:lnTo>
                  <a:pt x="98679" y="2286"/>
                </a:lnTo>
                <a:lnTo>
                  <a:pt x="84632" y="622"/>
                </a:lnTo>
                <a:lnTo>
                  <a:pt x="67881" y="0"/>
                </a:lnTo>
                <a:lnTo>
                  <a:pt x="42468" y="3619"/>
                </a:lnTo>
                <a:lnTo>
                  <a:pt x="22313" y="13906"/>
                </a:lnTo>
                <a:lnTo>
                  <a:pt x="9055" y="29997"/>
                </a:lnTo>
                <a:lnTo>
                  <a:pt x="4279" y="51054"/>
                </a:lnTo>
                <a:lnTo>
                  <a:pt x="7073" y="69265"/>
                </a:lnTo>
                <a:lnTo>
                  <a:pt x="14681" y="81889"/>
                </a:lnTo>
                <a:lnTo>
                  <a:pt x="25946" y="90182"/>
                </a:lnTo>
                <a:lnTo>
                  <a:pt x="39751" y="95415"/>
                </a:lnTo>
                <a:lnTo>
                  <a:pt x="72161" y="102704"/>
                </a:lnTo>
                <a:lnTo>
                  <a:pt x="79502" y="105130"/>
                </a:lnTo>
                <a:lnTo>
                  <a:pt x="83172" y="108178"/>
                </a:lnTo>
                <a:lnTo>
                  <a:pt x="83172" y="114249"/>
                </a:lnTo>
                <a:lnTo>
                  <a:pt x="80606" y="122262"/>
                </a:lnTo>
                <a:lnTo>
                  <a:pt x="74142" y="126860"/>
                </a:lnTo>
                <a:lnTo>
                  <a:pt x="65620" y="128955"/>
                </a:lnTo>
                <a:lnTo>
                  <a:pt x="56870" y="129438"/>
                </a:lnTo>
                <a:lnTo>
                  <a:pt x="45783" y="128511"/>
                </a:lnTo>
                <a:lnTo>
                  <a:pt x="34163" y="126098"/>
                </a:lnTo>
                <a:lnTo>
                  <a:pt x="22898" y="122783"/>
                </a:lnTo>
                <a:lnTo>
                  <a:pt x="12839" y="119113"/>
                </a:lnTo>
                <a:lnTo>
                  <a:pt x="0" y="150101"/>
                </a:lnTo>
                <a:lnTo>
                  <a:pt x="15100" y="155244"/>
                </a:lnTo>
                <a:lnTo>
                  <a:pt x="30416" y="158838"/>
                </a:lnTo>
                <a:lnTo>
                  <a:pt x="46431" y="160959"/>
                </a:lnTo>
                <a:lnTo>
                  <a:pt x="63601" y="161645"/>
                </a:lnTo>
                <a:lnTo>
                  <a:pt x="89585" y="158292"/>
                </a:lnTo>
                <a:lnTo>
                  <a:pt x="110998" y="148437"/>
                </a:lnTo>
                <a:lnTo>
                  <a:pt x="125514" y="132422"/>
                </a:lnTo>
                <a:lnTo>
                  <a:pt x="130873" y="110604"/>
                </a:lnTo>
                <a:close/>
              </a:path>
              <a:path w="457834" h="240665">
                <a:moveTo>
                  <a:pt x="299643" y="6680"/>
                </a:moveTo>
                <a:lnTo>
                  <a:pt x="255016" y="6680"/>
                </a:lnTo>
                <a:lnTo>
                  <a:pt x="226263" y="80822"/>
                </a:lnTo>
                <a:lnTo>
                  <a:pt x="217703" y="107569"/>
                </a:lnTo>
                <a:lnTo>
                  <a:pt x="213410" y="88938"/>
                </a:lnTo>
                <a:lnTo>
                  <a:pt x="183464" y="6680"/>
                </a:lnTo>
                <a:lnTo>
                  <a:pt x="132092" y="6680"/>
                </a:lnTo>
                <a:lnTo>
                  <a:pt x="191414" y="159219"/>
                </a:lnTo>
                <a:lnTo>
                  <a:pt x="179298" y="185369"/>
                </a:lnTo>
                <a:lnTo>
                  <a:pt x="170916" y="197510"/>
                </a:lnTo>
                <a:lnTo>
                  <a:pt x="160718" y="205536"/>
                </a:lnTo>
                <a:lnTo>
                  <a:pt x="147993" y="208445"/>
                </a:lnTo>
                <a:lnTo>
                  <a:pt x="141871" y="208445"/>
                </a:lnTo>
                <a:lnTo>
                  <a:pt x="135763" y="207835"/>
                </a:lnTo>
                <a:lnTo>
                  <a:pt x="127203" y="206019"/>
                </a:lnTo>
                <a:lnTo>
                  <a:pt x="120472" y="236397"/>
                </a:lnTo>
                <a:lnTo>
                  <a:pt x="135915" y="239433"/>
                </a:lnTo>
                <a:lnTo>
                  <a:pt x="144894" y="240334"/>
                </a:lnTo>
                <a:lnTo>
                  <a:pt x="155943" y="240652"/>
                </a:lnTo>
                <a:lnTo>
                  <a:pt x="178231" y="236982"/>
                </a:lnTo>
                <a:lnTo>
                  <a:pt x="197142" y="226758"/>
                </a:lnTo>
                <a:lnTo>
                  <a:pt x="212267" y="211175"/>
                </a:lnTo>
                <a:lnTo>
                  <a:pt x="223215" y="191427"/>
                </a:lnTo>
                <a:lnTo>
                  <a:pt x="299643" y="6680"/>
                </a:lnTo>
                <a:close/>
              </a:path>
              <a:path w="457834" h="240665">
                <a:moveTo>
                  <a:pt x="457428" y="50444"/>
                </a:moveTo>
                <a:lnTo>
                  <a:pt x="454101" y="30988"/>
                </a:lnTo>
                <a:lnTo>
                  <a:pt x="444512" y="16027"/>
                </a:lnTo>
                <a:lnTo>
                  <a:pt x="429310" y="6426"/>
                </a:lnTo>
                <a:lnTo>
                  <a:pt x="409117" y="3035"/>
                </a:lnTo>
                <a:lnTo>
                  <a:pt x="394779" y="4241"/>
                </a:lnTo>
                <a:lnTo>
                  <a:pt x="381127" y="7670"/>
                </a:lnTo>
                <a:lnTo>
                  <a:pt x="368173" y="13042"/>
                </a:lnTo>
                <a:lnTo>
                  <a:pt x="355904" y="20053"/>
                </a:lnTo>
                <a:lnTo>
                  <a:pt x="355904" y="6680"/>
                </a:lnTo>
                <a:lnTo>
                  <a:pt x="310045" y="6680"/>
                </a:lnTo>
                <a:lnTo>
                  <a:pt x="310045" y="159219"/>
                </a:lnTo>
                <a:lnTo>
                  <a:pt x="357746" y="159219"/>
                </a:lnTo>
                <a:lnTo>
                  <a:pt x="357746" y="51663"/>
                </a:lnTo>
                <a:lnTo>
                  <a:pt x="364134" y="46583"/>
                </a:lnTo>
                <a:lnTo>
                  <a:pt x="370814" y="42545"/>
                </a:lnTo>
                <a:lnTo>
                  <a:pt x="378294" y="39865"/>
                </a:lnTo>
                <a:lnTo>
                  <a:pt x="387096" y="38900"/>
                </a:lnTo>
                <a:lnTo>
                  <a:pt x="397243" y="40360"/>
                </a:lnTo>
                <a:lnTo>
                  <a:pt x="404075" y="44665"/>
                </a:lnTo>
                <a:lnTo>
                  <a:pt x="407911" y="51714"/>
                </a:lnTo>
                <a:lnTo>
                  <a:pt x="409117" y="61379"/>
                </a:lnTo>
                <a:lnTo>
                  <a:pt x="409117" y="159219"/>
                </a:lnTo>
                <a:lnTo>
                  <a:pt x="457428" y="159219"/>
                </a:lnTo>
                <a:lnTo>
                  <a:pt x="457428" y="50444"/>
                </a:lnTo>
                <a:close/>
              </a:path>
            </a:pathLst>
          </a:custGeom>
          <a:solidFill>
            <a:srgbClr val="FDFDF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bg object 21"/>
          <p:cNvSpPr/>
          <p:nvPr/>
        </p:nvSpPr>
        <p:spPr>
          <a:xfrm>
            <a:off x="11634474" y="6406729"/>
            <a:ext cx="137160" cy="159385"/>
          </a:xfrm>
          <a:custGeom>
            <a:avLst/>
            <a:gdLst/>
            <a:ahLst/>
            <a:cxnLst/>
            <a:rect l="l" t="t" r="r" b="b"/>
            <a:pathLst>
              <a:path w="137159" h="159384">
                <a:moveTo>
                  <a:pt x="133845" y="32816"/>
                </a:moveTo>
                <a:lnTo>
                  <a:pt x="63604" y="32816"/>
                </a:lnTo>
                <a:lnTo>
                  <a:pt x="77099" y="34345"/>
                </a:lnTo>
                <a:lnTo>
                  <a:pt x="85311" y="38665"/>
                </a:lnTo>
                <a:lnTo>
                  <a:pt x="89394" y="45378"/>
                </a:lnTo>
                <a:lnTo>
                  <a:pt x="90499" y="54085"/>
                </a:lnTo>
                <a:lnTo>
                  <a:pt x="90499" y="58340"/>
                </a:lnTo>
                <a:lnTo>
                  <a:pt x="59850" y="60362"/>
                </a:lnTo>
                <a:lnTo>
                  <a:pt x="30575" y="68595"/>
                </a:lnTo>
                <a:lnTo>
                  <a:pt x="8637" y="86285"/>
                </a:lnTo>
                <a:lnTo>
                  <a:pt x="0" y="116680"/>
                </a:lnTo>
                <a:lnTo>
                  <a:pt x="3593" y="135633"/>
                </a:lnTo>
                <a:lnTo>
                  <a:pt x="13608" y="148889"/>
                </a:lnTo>
                <a:lnTo>
                  <a:pt x="28898" y="156675"/>
                </a:lnTo>
                <a:lnTo>
                  <a:pt x="48315" y="159220"/>
                </a:lnTo>
                <a:lnTo>
                  <a:pt x="60789" y="158299"/>
                </a:lnTo>
                <a:lnTo>
                  <a:pt x="72400" y="155498"/>
                </a:lnTo>
                <a:lnTo>
                  <a:pt x="82975" y="150760"/>
                </a:lnTo>
                <a:lnTo>
                  <a:pt x="92341" y="144027"/>
                </a:lnTo>
                <a:lnTo>
                  <a:pt x="136998" y="144027"/>
                </a:lnTo>
                <a:lnTo>
                  <a:pt x="136998" y="127010"/>
                </a:lnTo>
                <a:lnTo>
                  <a:pt x="67263" y="127010"/>
                </a:lnTo>
                <a:lnTo>
                  <a:pt x="60694" y="126232"/>
                </a:lnTo>
                <a:lnTo>
                  <a:pt x="54581" y="123516"/>
                </a:lnTo>
                <a:lnTo>
                  <a:pt x="50073" y="118294"/>
                </a:lnTo>
                <a:lnTo>
                  <a:pt x="48315" y="109996"/>
                </a:lnTo>
                <a:lnTo>
                  <a:pt x="51812" y="97680"/>
                </a:lnTo>
                <a:lnTo>
                  <a:pt x="61157" y="90777"/>
                </a:lnTo>
                <a:lnTo>
                  <a:pt x="74627" y="87861"/>
                </a:lnTo>
                <a:lnTo>
                  <a:pt x="90499" y="87509"/>
                </a:lnTo>
                <a:lnTo>
                  <a:pt x="136998" y="87509"/>
                </a:lnTo>
                <a:lnTo>
                  <a:pt x="136998" y="48008"/>
                </a:lnTo>
                <a:lnTo>
                  <a:pt x="133845" y="32816"/>
                </a:lnTo>
                <a:close/>
              </a:path>
              <a:path w="137159" h="159384">
                <a:moveTo>
                  <a:pt x="136998" y="144027"/>
                </a:moveTo>
                <a:lnTo>
                  <a:pt x="92341" y="144027"/>
                </a:lnTo>
                <a:lnTo>
                  <a:pt x="92341" y="156182"/>
                </a:lnTo>
                <a:lnTo>
                  <a:pt x="136998" y="156182"/>
                </a:lnTo>
                <a:lnTo>
                  <a:pt x="136998" y="144027"/>
                </a:lnTo>
                <a:close/>
              </a:path>
              <a:path w="137159" h="159384">
                <a:moveTo>
                  <a:pt x="136998" y="87509"/>
                </a:moveTo>
                <a:lnTo>
                  <a:pt x="90499" y="87509"/>
                </a:lnTo>
                <a:lnTo>
                  <a:pt x="90499" y="115464"/>
                </a:lnTo>
                <a:lnTo>
                  <a:pt x="85925" y="120088"/>
                </a:lnTo>
                <a:lnTo>
                  <a:pt x="80489" y="123744"/>
                </a:lnTo>
                <a:lnTo>
                  <a:pt x="74027" y="126232"/>
                </a:lnTo>
                <a:lnTo>
                  <a:pt x="73558" y="126232"/>
                </a:lnTo>
                <a:lnTo>
                  <a:pt x="67263" y="127010"/>
                </a:lnTo>
                <a:lnTo>
                  <a:pt x="136998" y="127010"/>
                </a:lnTo>
                <a:lnTo>
                  <a:pt x="136998" y="87509"/>
                </a:lnTo>
                <a:close/>
              </a:path>
              <a:path w="137159" h="159384">
                <a:moveTo>
                  <a:pt x="76446" y="0"/>
                </a:moveTo>
                <a:lnTo>
                  <a:pt x="58429" y="1405"/>
                </a:lnTo>
                <a:lnTo>
                  <a:pt x="40522" y="5317"/>
                </a:lnTo>
                <a:lnTo>
                  <a:pt x="23301" y="11280"/>
                </a:lnTo>
                <a:lnTo>
                  <a:pt x="7341" y="18839"/>
                </a:lnTo>
                <a:lnTo>
                  <a:pt x="18972" y="46794"/>
                </a:lnTo>
                <a:lnTo>
                  <a:pt x="28692" y="41789"/>
                </a:lnTo>
                <a:lnTo>
                  <a:pt x="39907" y="37298"/>
                </a:lnTo>
                <a:lnTo>
                  <a:pt x="51812" y="34060"/>
                </a:lnTo>
                <a:lnTo>
                  <a:pt x="63604" y="32816"/>
                </a:lnTo>
                <a:lnTo>
                  <a:pt x="133845" y="32816"/>
                </a:lnTo>
                <a:lnTo>
                  <a:pt x="132781" y="27688"/>
                </a:lnTo>
                <a:lnTo>
                  <a:pt x="120706" y="12609"/>
                </a:lnTo>
                <a:lnTo>
                  <a:pt x="101639" y="3228"/>
                </a:lnTo>
                <a:lnTo>
                  <a:pt x="76446" y="0"/>
                </a:lnTo>
                <a:close/>
              </a:path>
            </a:pathLst>
          </a:custGeom>
          <a:solidFill>
            <a:srgbClr val="FDFDF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bg object 22"/>
          <p:cNvSpPr/>
          <p:nvPr/>
        </p:nvSpPr>
        <p:spPr>
          <a:xfrm>
            <a:off x="11010710" y="6406134"/>
            <a:ext cx="317500" cy="241300"/>
          </a:xfrm>
          <a:custGeom>
            <a:avLst/>
            <a:gdLst/>
            <a:ahLst/>
            <a:cxnLst/>
            <a:rect l="l" t="t" r="r" b="b"/>
            <a:pathLst>
              <a:path w="317500" h="241300">
                <a:moveTo>
                  <a:pt x="165100" y="175628"/>
                </a:moveTo>
                <a:lnTo>
                  <a:pt x="150050" y="137871"/>
                </a:lnTo>
                <a:lnTo>
                  <a:pt x="116814" y="126263"/>
                </a:lnTo>
                <a:lnTo>
                  <a:pt x="116814" y="181698"/>
                </a:lnTo>
                <a:lnTo>
                  <a:pt x="115570" y="186563"/>
                </a:lnTo>
                <a:lnTo>
                  <a:pt x="113792" y="193243"/>
                </a:lnTo>
                <a:lnTo>
                  <a:pt x="105791" y="201752"/>
                </a:lnTo>
                <a:lnTo>
                  <a:pt x="93573" y="207162"/>
                </a:lnTo>
                <a:lnTo>
                  <a:pt x="78257" y="209042"/>
                </a:lnTo>
                <a:lnTo>
                  <a:pt x="63030" y="207492"/>
                </a:lnTo>
                <a:lnTo>
                  <a:pt x="50368" y="203047"/>
                </a:lnTo>
                <a:lnTo>
                  <a:pt x="41719" y="195973"/>
                </a:lnTo>
                <a:lnTo>
                  <a:pt x="38519" y="186563"/>
                </a:lnTo>
                <a:lnTo>
                  <a:pt x="40157" y="179298"/>
                </a:lnTo>
                <a:lnTo>
                  <a:pt x="44259" y="173113"/>
                </a:lnTo>
                <a:lnTo>
                  <a:pt x="49618" y="168186"/>
                </a:lnTo>
                <a:lnTo>
                  <a:pt x="55029" y="164680"/>
                </a:lnTo>
                <a:lnTo>
                  <a:pt x="96634" y="164680"/>
                </a:lnTo>
                <a:lnTo>
                  <a:pt x="116814" y="181698"/>
                </a:lnTo>
                <a:lnTo>
                  <a:pt x="116814" y="126263"/>
                </a:lnTo>
                <a:lnTo>
                  <a:pt x="108839" y="125183"/>
                </a:lnTo>
                <a:lnTo>
                  <a:pt x="70319" y="125183"/>
                </a:lnTo>
                <a:lnTo>
                  <a:pt x="63855" y="124714"/>
                </a:lnTo>
                <a:lnTo>
                  <a:pt x="56184" y="122821"/>
                </a:lnTo>
                <a:lnTo>
                  <a:pt x="49758" y="118770"/>
                </a:lnTo>
                <a:lnTo>
                  <a:pt x="47078" y="111810"/>
                </a:lnTo>
                <a:lnTo>
                  <a:pt x="47078" y="105740"/>
                </a:lnTo>
                <a:lnTo>
                  <a:pt x="55029" y="100876"/>
                </a:lnTo>
                <a:lnTo>
                  <a:pt x="58712" y="98437"/>
                </a:lnTo>
                <a:lnTo>
                  <a:pt x="70942" y="100876"/>
                </a:lnTo>
                <a:lnTo>
                  <a:pt x="77660" y="100876"/>
                </a:lnTo>
                <a:lnTo>
                  <a:pt x="101193" y="98437"/>
                </a:lnTo>
                <a:lnTo>
                  <a:pt x="104609" y="98094"/>
                </a:lnTo>
                <a:lnTo>
                  <a:pt x="128117" y="89103"/>
                </a:lnTo>
                <a:lnTo>
                  <a:pt x="143497" y="74129"/>
                </a:lnTo>
                <a:lnTo>
                  <a:pt x="144741" y="72923"/>
                </a:lnTo>
                <a:lnTo>
                  <a:pt x="151053" y="48615"/>
                </a:lnTo>
                <a:lnTo>
                  <a:pt x="146100" y="27343"/>
                </a:lnTo>
                <a:lnTo>
                  <a:pt x="145338" y="24091"/>
                </a:lnTo>
                <a:lnTo>
                  <a:pt x="130175" y="9258"/>
                </a:lnTo>
                <a:lnTo>
                  <a:pt x="108470" y="1955"/>
                </a:lnTo>
                <a:lnTo>
                  <a:pt x="104571" y="1663"/>
                </a:lnTo>
                <a:lnTo>
                  <a:pt x="104571" y="50431"/>
                </a:lnTo>
                <a:lnTo>
                  <a:pt x="103085" y="59524"/>
                </a:lnTo>
                <a:lnTo>
                  <a:pt x="98615" y="67068"/>
                </a:lnTo>
                <a:lnTo>
                  <a:pt x="91160" y="72224"/>
                </a:lnTo>
                <a:lnTo>
                  <a:pt x="80708" y="74129"/>
                </a:lnTo>
                <a:lnTo>
                  <a:pt x="70993" y="72224"/>
                </a:lnTo>
                <a:lnTo>
                  <a:pt x="63906" y="67068"/>
                </a:lnTo>
                <a:lnTo>
                  <a:pt x="59575" y="59524"/>
                </a:lnTo>
                <a:lnTo>
                  <a:pt x="58102" y="50431"/>
                </a:lnTo>
                <a:lnTo>
                  <a:pt x="59753" y="42214"/>
                </a:lnTo>
                <a:lnTo>
                  <a:pt x="64439" y="34785"/>
                </a:lnTo>
                <a:lnTo>
                  <a:pt x="71767" y="29413"/>
                </a:lnTo>
                <a:lnTo>
                  <a:pt x="81343" y="27343"/>
                </a:lnTo>
                <a:lnTo>
                  <a:pt x="91681" y="29159"/>
                </a:lnTo>
                <a:lnTo>
                  <a:pt x="98920" y="34099"/>
                </a:lnTo>
                <a:lnTo>
                  <a:pt x="103174" y="41440"/>
                </a:lnTo>
                <a:lnTo>
                  <a:pt x="104482" y="49822"/>
                </a:lnTo>
                <a:lnTo>
                  <a:pt x="104571" y="50431"/>
                </a:lnTo>
                <a:lnTo>
                  <a:pt x="104571" y="1663"/>
                </a:lnTo>
                <a:lnTo>
                  <a:pt x="54952" y="3162"/>
                </a:lnTo>
                <a:lnTo>
                  <a:pt x="17106" y="28194"/>
                </a:lnTo>
                <a:lnTo>
                  <a:pt x="11607" y="49822"/>
                </a:lnTo>
                <a:lnTo>
                  <a:pt x="13563" y="65443"/>
                </a:lnTo>
                <a:lnTo>
                  <a:pt x="18567" y="75882"/>
                </a:lnTo>
                <a:lnTo>
                  <a:pt x="25298" y="82562"/>
                </a:lnTo>
                <a:lnTo>
                  <a:pt x="32423" y="86893"/>
                </a:lnTo>
                <a:lnTo>
                  <a:pt x="21120" y="94488"/>
                </a:lnTo>
                <a:lnTo>
                  <a:pt x="11760" y="103454"/>
                </a:lnTo>
                <a:lnTo>
                  <a:pt x="5397" y="113563"/>
                </a:lnTo>
                <a:lnTo>
                  <a:pt x="3048" y="124574"/>
                </a:lnTo>
                <a:lnTo>
                  <a:pt x="3048" y="136118"/>
                </a:lnTo>
                <a:lnTo>
                  <a:pt x="6731" y="143408"/>
                </a:lnTo>
                <a:lnTo>
                  <a:pt x="10998" y="148272"/>
                </a:lnTo>
                <a:lnTo>
                  <a:pt x="14681" y="152527"/>
                </a:lnTo>
                <a:lnTo>
                  <a:pt x="19570" y="154965"/>
                </a:lnTo>
                <a:lnTo>
                  <a:pt x="24472" y="158000"/>
                </a:lnTo>
                <a:lnTo>
                  <a:pt x="16776" y="163588"/>
                </a:lnTo>
                <a:lnTo>
                  <a:pt x="8788" y="171297"/>
                </a:lnTo>
                <a:lnTo>
                  <a:pt x="2527" y="181152"/>
                </a:lnTo>
                <a:lnTo>
                  <a:pt x="0" y="193243"/>
                </a:lnTo>
                <a:lnTo>
                  <a:pt x="6426" y="216382"/>
                </a:lnTo>
                <a:lnTo>
                  <a:pt x="23469" y="231152"/>
                </a:lnTo>
                <a:lnTo>
                  <a:pt x="47739" y="238963"/>
                </a:lnTo>
                <a:lnTo>
                  <a:pt x="75844" y="241249"/>
                </a:lnTo>
                <a:lnTo>
                  <a:pt x="108610" y="236982"/>
                </a:lnTo>
                <a:lnTo>
                  <a:pt x="137210" y="224840"/>
                </a:lnTo>
                <a:lnTo>
                  <a:pt x="152920" y="209042"/>
                </a:lnTo>
                <a:lnTo>
                  <a:pt x="157429" y="204508"/>
                </a:lnTo>
                <a:lnTo>
                  <a:pt x="165100" y="175628"/>
                </a:lnTo>
                <a:close/>
              </a:path>
              <a:path w="317500" h="241300">
                <a:moveTo>
                  <a:pt x="317385" y="74739"/>
                </a:moveTo>
                <a:lnTo>
                  <a:pt x="307378" y="32804"/>
                </a:lnTo>
                <a:lnTo>
                  <a:pt x="279336" y="6134"/>
                </a:lnTo>
                <a:lnTo>
                  <a:pt x="279781" y="6134"/>
                </a:lnTo>
                <a:lnTo>
                  <a:pt x="268465" y="4292"/>
                </a:lnTo>
                <a:lnTo>
                  <a:pt x="268465" y="60159"/>
                </a:lnTo>
                <a:lnTo>
                  <a:pt x="215861" y="60159"/>
                </a:lnTo>
                <a:lnTo>
                  <a:pt x="219062" y="49212"/>
                </a:lnTo>
                <a:lnTo>
                  <a:pt x="224891" y="40563"/>
                </a:lnTo>
                <a:lnTo>
                  <a:pt x="233235" y="34861"/>
                </a:lnTo>
                <a:lnTo>
                  <a:pt x="243992" y="32804"/>
                </a:lnTo>
                <a:lnTo>
                  <a:pt x="254876" y="34683"/>
                </a:lnTo>
                <a:lnTo>
                  <a:pt x="262661" y="40106"/>
                </a:lnTo>
                <a:lnTo>
                  <a:pt x="267220" y="48704"/>
                </a:lnTo>
                <a:lnTo>
                  <a:pt x="268465" y="60159"/>
                </a:lnTo>
                <a:lnTo>
                  <a:pt x="268465" y="4292"/>
                </a:lnTo>
                <a:lnTo>
                  <a:pt x="215328" y="6134"/>
                </a:lnTo>
                <a:lnTo>
                  <a:pt x="171272" y="47256"/>
                </a:lnTo>
                <a:lnTo>
                  <a:pt x="164503" y="80822"/>
                </a:lnTo>
                <a:lnTo>
                  <a:pt x="169926" y="113677"/>
                </a:lnTo>
                <a:lnTo>
                  <a:pt x="185445" y="138557"/>
                </a:lnTo>
                <a:lnTo>
                  <a:pt x="209905" y="154317"/>
                </a:lnTo>
                <a:lnTo>
                  <a:pt x="242150" y="159816"/>
                </a:lnTo>
                <a:lnTo>
                  <a:pt x="260870" y="158686"/>
                </a:lnTo>
                <a:lnTo>
                  <a:pt x="278549" y="155346"/>
                </a:lnTo>
                <a:lnTo>
                  <a:pt x="295300" y="149821"/>
                </a:lnTo>
                <a:lnTo>
                  <a:pt x="311264" y="142201"/>
                </a:lnTo>
                <a:lnTo>
                  <a:pt x="303720" y="125793"/>
                </a:lnTo>
                <a:lnTo>
                  <a:pt x="298424" y="114249"/>
                </a:lnTo>
                <a:lnTo>
                  <a:pt x="291274" y="118097"/>
                </a:lnTo>
                <a:lnTo>
                  <a:pt x="281609" y="121843"/>
                </a:lnTo>
                <a:lnTo>
                  <a:pt x="270560" y="124663"/>
                </a:lnTo>
                <a:lnTo>
                  <a:pt x="259283" y="125793"/>
                </a:lnTo>
                <a:lnTo>
                  <a:pt x="238810" y="123355"/>
                </a:lnTo>
                <a:lnTo>
                  <a:pt x="225348" y="116370"/>
                </a:lnTo>
                <a:lnTo>
                  <a:pt x="217830" y="105283"/>
                </a:lnTo>
                <a:lnTo>
                  <a:pt x="215265" y="90538"/>
                </a:lnTo>
                <a:lnTo>
                  <a:pt x="317385" y="90538"/>
                </a:lnTo>
                <a:lnTo>
                  <a:pt x="317385" y="74739"/>
                </a:lnTo>
                <a:close/>
              </a:path>
            </a:pathLst>
          </a:custGeom>
          <a:solidFill>
            <a:srgbClr val="FDFDFD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3" name="bg object 23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8255254" y="0"/>
            <a:ext cx="3936746" cy="6857998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200" b="1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1045"/>
              </a:lnSpc>
            </a:pPr>
            <a:r>
              <a:rPr spc="-10" dirty="0"/>
              <a:t>КЛАССИФИКАЦИЯ:</a:t>
            </a:r>
            <a:r>
              <a:rPr spc="75" dirty="0"/>
              <a:t> </a:t>
            </a:r>
            <a:r>
              <a:rPr spc="-10" dirty="0"/>
              <a:t>ПУБЛИЧНО</a:t>
            </a: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3/20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 marL="38100">
              <a:lnSpc>
                <a:spcPts val="1045"/>
              </a:lnSpc>
            </a:pPr>
            <a:fld id="{81D60167-4931-47E6-BA6A-407CBD079E47}" type="slidenum">
              <a:rPr spc="-50" dirty="0"/>
              <a:t>‹#›</a:t>
            </a:fld>
            <a:endParaRPr spc="-50" dirty="0"/>
          </a:p>
        </p:txBody>
      </p:sp>
    </p:spTree>
    <p:extLst>
      <p:ext uri="{BB962C8B-B14F-4D97-AF65-F5344CB8AC3E}">
        <p14:creationId xmlns:p14="http://schemas.microsoft.com/office/powerpoint/2010/main" val="34164871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00412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1045"/>
              </a:lnSpc>
            </a:pPr>
            <a:r>
              <a:rPr spc="-10" dirty="0"/>
              <a:t>КЛАССИФИКАЦИЯ:</a:t>
            </a:r>
            <a:r>
              <a:rPr spc="75" dirty="0"/>
              <a:t> </a:t>
            </a:r>
            <a:r>
              <a:rPr spc="-10" dirty="0"/>
              <a:t>ПУБЛИЧНО</a:t>
            </a: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3/2025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 marL="38100">
              <a:lnSpc>
                <a:spcPts val="1045"/>
              </a:lnSpc>
            </a:pPr>
            <a:fld id="{81D60167-4931-47E6-BA6A-407CBD079E47}" type="slidenum">
              <a:rPr spc="-50" dirty="0"/>
              <a:t>‹#›</a:t>
            </a:fld>
            <a:endParaRPr spc="-50" dirty="0"/>
          </a:p>
        </p:txBody>
      </p:sp>
    </p:spTree>
    <p:extLst>
      <p:ext uri="{BB962C8B-B14F-4D97-AF65-F5344CB8AC3E}">
        <p14:creationId xmlns:p14="http://schemas.microsoft.com/office/powerpoint/2010/main" val="17034882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350EDBE5-918E-4F60-96F6-8CB6A88D5B5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2" y="-8899"/>
            <a:ext cx="10837333" cy="6858000"/>
          </a:xfrm>
          <a:prstGeom prst="rect">
            <a:avLst/>
          </a:prstGeom>
        </p:spPr>
      </p:pic>
      <p:sp>
        <p:nvSpPr>
          <p:cNvPr id="26" name="Rectangle 4"/>
          <p:cNvSpPr/>
          <p:nvPr userDrawn="1"/>
        </p:nvSpPr>
        <p:spPr bwMode="gray">
          <a:xfrm>
            <a:off x="10857433" y="9229"/>
            <a:ext cx="1335735" cy="684877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9" name="Freeform 6"/>
          <p:cNvSpPr>
            <a:spLocks noEditPoints="1"/>
          </p:cNvSpPr>
          <p:nvPr userDrawn="1"/>
        </p:nvSpPr>
        <p:spPr bwMode="gray">
          <a:xfrm>
            <a:off x="10863484" y="625789"/>
            <a:ext cx="1282552" cy="5945801"/>
          </a:xfrm>
          <a:custGeom>
            <a:avLst/>
            <a:gdLst>
              <a:gd name="T0" fmla="*/ 246 w 404"/>
              <a:gd name="T1" fmla="*/ 1196 h 1884"/>
              <a:gd name="T2" fmla="*/ 220 w 404"/>
              <a:gd name="T3" fmla="*/ 1280 h 1884"/>
              <a:gd name="T4" fmla="*/ 146 w 404"/>
              <a:gd name="T5" fmla="*/ 1336 h 1884"/>
              <a:gd name="T6" fmla="*/ 0 w 404"/>
              <a:gd name="T7" fmla="*/ 1385 h 1884"/>
              <a:gd name="T8" fmla="*/ 0 w 404"/>
              <a:gd name="T9" fmla="*/ 1451 h 1884"/>
              <a:gd name="T10" fmla="*/ 201 w 404"/>
              <a:gd name="T11" fmla="*/ 1350 h 1884"/>
              <a:gd name="T12" fmla="*/ 252 w 404"/>
              <a:gd name="T13" fmla="*/ 1236 h 1884"/>
              <a:gd name="T14" fmla="*/ 246 w 404"/>
              <a:gd name="T15" fmla="*/ 1196 h 1884"/>
              <a:gd name="T16" fmla="*/ 0 w 404"/>
              <a:gd name="T17" fmla="*/ 0 h 1884"/>
              <a:gd name="T18" fmla="*/ 0 w 404"/>
              <a:gd name="T19" fmla="*/ 257 h 1884"/>
              <a:gd name="T20" fmla="*/ 312 w 404"/>
              <a:gd name="T21" fmla="*/ 1053 h 1884"/>
              <a:gd name="T22" fmla="*/ 321 w 404"/>
              <a:gd name="T23" fmla="*/ 1200 h 1884"/>
              <a:gd name="T24" fmla="*/ 167 w 404"/>
              <a:gd name="T25" fmla="*/ 1662 h 1884"/>
              <a:gd name="T26" fmla="*/ 0 w 404"/>
              <a:gd name="T27" fmla="*/ 1794 h 1884"/>
              <a:gd name="T28" fmla="*/ 0 w 404"/>
              <a:gd name="T29" fmla="*/ 1884 h 1884"/>
              <a:gd name="T30" fmla="*/ 77 w 404"/>
              <a:gd name="T31" fmla="*/ 1845 h 1884"/>
              <a:gd name="T32" fmla="*/ 375 w 404"/>
              <a:gd name="T33" fmla="*/ 1427 h 1884"/>
              <a:gd name="T34" fmla="*/ 404 w 404"/>
              <a:gd name="T35" fmla="*/ 1179 h 1884"/>
              <a:gd name="T36" fmla="*/ 398 w 404"/>
              <a:gd name="T37" fmla="*/ 1059 h 1884"/>
              <a:gd name="T38" fmla="*/ 399 w 404"/>
              <a:gd name="T39" fmla="*/ 1059 h 1884"/>
              <a:gd name="T40" fmla="*/ 398 w 404"/>
              <a:gd name="T41" fmla="*/ 1059 h 1884"/>
              <a:gd name="T42" fmla="*/ 0 w 404"/>
              <a:gd name="T43" fmla="*/ 0 h 1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404" h="1884">
                <a:moveTo>
                  <a:pt x="246" y="1196"/>
                </a:moveTo>
                <a:cubicBezTo>
                  <a:pt x="246" y="1230"/>
                  <a:pt x="237" y="1258"/>
                  <a:pt x="220" y="1280"/>
                </a:cubicBezTo>
                <a:cubicBezTo>
                  <a:pt x="203" y="1303"/>
                  <a:pt x="178" y="1321"/>
                  <a:pt x="146" y="1336"/>
                </a:cubicBezTo>
                <a:cubicBezTo>
                  <a:pt x="107" y="1355"/>
                  <a:pt x="57" y="1370"/>
                  <a:pt x="0" y="1385"/>
                </a:cubicBezTo>
                <a:cubicBezTo>
                  <a:pt x="0" y="1451"/>
                  <a:pt x="0" y="1451"/>
                  <a:pt x="0" y="1451"/>
                </a:cubicBezTo>
                <a:cubicBezTo>
                  <a:pt x="101" y="1423"/>
                  <a:pt x="163" y="1387"/>
                  <a:pt x="201" y="1350"/>
                </a:cubicBezTo>
                <a:cubicBezTo>
                  <a:pt x="240" y="1310"/>
                  <a:pt x="252" y="1270"/>
                  <a:pt x="252" y="1236"/>
                </a:cubicBezTo>
                <a:cubicBezTo>
                  <a:pt x="252" y="1221"/>
                  <a:pt x="250" y="1208"/>
                  <a:pt x="246" y="1196"/>
                </a:cubicBezTo>
                <a:moveTo>
                  <a:pt x="0" y="0"/>
                </a:moveTo>
                <a:cubicBezTo>
                  <a:pt x="0" y="257"/>
                  <a:pt x="0" y="257"/>
                  <a:pt x="0" y="257"/>
                </a:cubicBezTo>
                <a:cubicBezTo>
                  <a:pt x="155" y="529"/>
                  <a:pt x="283" y="818"/>
                  <a:pt x="312" y="1053"/>
                </a:cubicBezTo>
                <a:cubicBezTo>
                  <a:pt x="318" y="1105"/>
                  <a:pt x="321" y="1154"/>
                  <a:pt x="321" y="1200"/>
                </a:cubicBezTo>
                <a:cubicBezTo>
                  <a:pt x="321" y="1417"/>
                  <a:pt x="253" y="1563"/>
                  <a:pt x="167" y="1662"/>
                </a:cubicBezTo>
                <a:cubicBezTo>
                  <a:pt x="114" y="1722"/>
                  <a:pt x="55" y="1764"/>
                  <a:pt x="0" y="1794"/>
                </a:cubicBezTo>
                <a:cubicBezTo>
                  <a:pt x="0" y="1884"/>
                  <a:pt x="0" y="1884"/>
                  <a:pt x="0" y="1884"/>
                </a:cubicBezTo>
                <a:cubicBezTo>
                  <a:pt x="27" y="1873"/>
                  <a:pt x="52" y="1861"/>
                  <a:pt x="77" y="1845"/>
                </a:cubicBezTo>
                <a:cubicBezTo>
                  <a:pt x="172" y="1785"/>
                  <a:pt x="326" y="1632"/>
                  <a:pt x="375" y="1427"/>
                </a:cubicBezTo>
                <a:cubicBezTo>
                  <a:pt x="393" y="1355"/>
                  <a:pt x="404" y="1273"/>
                  <a:pt x="404" y="1179"/>
                </a:cubicBezTo>
                <a:cubicBezTo>
                  <a:pt x="404" y="1141"/>
                  <a:pt x="402" y="1101"/>
                  <a:pt x="398" y="1059"/>
                </a:cubicBezTo>
                <a:cubicBezTo>
                  <a:pt x="399" y="1059"/>
                  <a:pt x="399" y="1059"/>
                  <a:pt x="399" y="1059"/>
                </a:cubicBezTo>
                <a:cubicBezTo>
                  <a:pt x="398" y="1059"/>
                  <a:pt x="398" y="1059"/>
                  <a:pt x="398" y="1059"/>
                </a:cubicBezTo>
                <a:cubicBezTo>
                  <a:pt x="369" y="740"/>
                  <a:pt x="187" y="339"/>
                  <a:pt x="0" y="0"/>
                </a:cubicBezTo>
              </a:path>
            </a:pathLst>
          </a:custGeom>
          <a:gradFill>
            <a:gsLst>
              <a:gs pos="8000">
                <a:schemeClr val="accent1">
                  <a:lumMod val="75000"/>
                  <a:alpha val="40000"/>
                </a:schemeClr>
              </a:gs>
              <a:gs pos="42000">
                <a:schemeClr val="accent1">
                  <a:lumMod val="75000"/>
                  <a:alpha val="40000"/>
                </a:schemeClr>
              </a:gs>
              <a:gs pos="89000">
                <a:schemeClr val="accent1">
                  <a:lumMod val="75000"/>
                  <a:alpha val="40000"/>
                </a:schemeClr>
              </a:gs>
            </a:gsLst>
            <a:lin ang="3300000" scaled="0"/>
          </a:gra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50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346200" y="1620892"/>
            <a:ext cx="8801101" cy="2025968"/>
          </a:xfrm>
        </p:spPr>
        <p:txBody>
          <a:bodyPr anchor="b">
            <a:normAutofit/>
          </a:bodyPr>
          <a:lstStyle>
            <a:lvl1pPr algn="l">
              <a:lnSpc>
                <a:spcPts val="6933"/>
              </a:lnSpc>
              <a:defRPr sz="6667" b="0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51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346200" y="3867845"/>
            <a:ext cx="8801101" cy="615553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None/>
              <a:defRPr sz="2667" b="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subtitle style</a:t>
            </a:r>
          </a:p>
        </p:txBody>
      </p:sp>
      <p:sp>
        <p:nvSpPr>
          <p:cNvPr id="54" name="Rectangle 5"/>
          <p:cNvSpPr>
            <a:spLocks noChangeArrowheads="1"/>
          </p:cNvSpPr>
          <p:nvPr/>
        </p:nvSpPr>
        <p:spPr bwMode="gray">
          <a:xfrm>
            <a:off x="10394956" y="2"/>
            <a:ext cx="1792817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25" name="Rectangle 5"/>
          <p:cNvSpPr>
            <a:spLocks noChangeArrowheads="1"/>
          </p:cNvSpPr>
          <p:nvPr userDrawn="1"/>
        </p:nvSpPr>
        <p:spPr bwMode="gray">
          <a:xfrm>
            <a:off x="10409376" y="2"/>
            <a:ext cx="1792817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28" name="Rectangle 10"/>
          <p:cNvSpPr>
            <a:spLocks noChangeArrowheads="1"/>
          </p:cNvSpPr>
          <p:nvPr userDrawn="1"/>
        </p:nvSpPr>
        <p:spPr bwMode="gray">
          <a:xfrm>
            <a:off x="-1" y="5079435"/>
            <a:ext cx="12192001" cy="887599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29" name="Rectangle 5"/>
          <p:cNvSpPr>
            <a:spLocks noChangeArrowheads="1"/>
          </p:cNvSpPr>
          <p:nvPr userDrawn="1"/>
        </p:nvSpPr>
        <p:spPr bwMode="gray">
          <a:xfrm>
            <a:off x="10846338" y="9229"/>
            <a:ext cx="1342492" cy="68487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30" name="Freeform 49"/>
          <p:cNvSpPr>
            <a:spLocks/>
          </p:cNvSpPr>
          <p:nvPr userDrawn="1"/>
        </p:nvSpPr>
        <p:spPr bwMode="gray">
          <a:xfrm>
            <a:off x="10857432" y="5079634"/>
            <a:ext cx="1334568" cy="887599"/>
          </a:xfrm>
          <a:custGeom>
            <a:avLst/>
            <a:gdLst>
              <a:gd name="T0" fmla="*/ 0 w 4568"/>
              <a:gd name="T1" fmla="*/ 0 h 2670"/>
              <a:gd name="T2" fmla="*/ 0 w 4568"/>
              <a:gd name="T3" fmla="*/ 2670 h 2670"/>
              <a:gd name="T4" fmla="*/ 4568 w 4568"/>
              <a:gd name="T5" fmla="*/ 2670 h 2670"/>
              <a:gd name="T6" fmla="*/ 4568 w 4568"/>
              <a:gd name="T7" fmla="*/ 0 h 2670"/>
              <a:gd name="T8" fmla="*/ 0 w 4568"/>
              <a:gd name="T9" fmla="*/ 0 h 2670"/>
              <a:gd name="T10" fmla="*/ 0 w 4568"/>
              <a:gd name="T11" fmla="*/ 0 h 26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568" h="2670">
                <a:moveTo>
                  <a:pt x="0" y="0"/>
                </a:moveTo>
                <a:lnTo>
                  <a:pt x="0" y="2670"/>
                </a:lnTo>
                <a:lnTo>
                  <a:pt x="4568" y="2670"/>
                </a:lnTo>
                <a:lnTo>
                  <a:pt x="4568" y="0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grpSp>
        <p:nvGrpSpPr>
          <p:cNvPr id="31" name="Group 15"/>
          <p:cNvGrpSpPr/>
          <p:nvPr userDrawn="1"/>
        </p:nvGrpSpPr>
        <p:grpSpPr bwMode="gray">
          <a:xfrm>
            <a:off x="11054940" y="5441322"/>
            <a:ext cx="936632" cy="263828"/>
            <a:chOff x="2024063" y="2676525"/>
            <a:chExt cx="5111750" cy="1439863"/>
          </a:xfrm>
        </p:grpSpPr>
        <p:sp>
          <p:nvSpPr>
            <p:cNvPr id="32" name="Line 50"/>
            <p:cNvSpPr>
              <a:spLocks noChangeShapeType="1"/>
            </p:cNvSpPr>
            <p:nvPr/>
          </p:nvSpPr>
          <p:spPr bwMode="gray">
            <a:xfrm>
              <a:off x="2203450" y="3767138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3" name="Line 51"/>
            <p:cNvSpPr>
              <a:spLocks noChangeShapeType="1"/>
            </p:cNvSpPr>
            <p:nvPr/>
          </p:nvSpPr>
          <p:spPr bwMode="gray">
            <a:xfrm>
              <a:off x="2203450" y="3767138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4" name="Freeform 52"/>
            <p:cNvSpPr>
              <a:spLocks/>
            </p:cNvSpPr>
            <p:nvPr/>
          </p:nvSpPr>
          <p:spPr bwMode="gray">
            <a:xfrm>
              <a:off x="5810250" y="3003550"/>
              <a:ext cx="442913" cy="793750"/>
            </a:xfrm>
            <a:custGeom>
              <a:avLst/>
              <a:gdLst>
                <a:gd name="T0" fmla="*/ 118 w 118"/>
                <a:gd name="T1" fmla="*/ 80 h 211"/>
                <a:gd name="T2" fmla="*/ 74 w 118"/>
                <a:gd name="T3" fmla="*/ 80 h 211"/>
                <a:gd name="T4" fmla="*/ 74 w 118"/>
                <a:gd name="T5" fmla="*/ 152 h 211"/>
                <a:gd name="T6" fmla="*/ 99 w 118"/>
                <a:gd name="T7" fmla="*/ 176 h 211"/>
                <a:gd name="T8" fmla="*/ 114 w 118"/>
                <a:gd name="T9" fmla="*/ 175 h 211"/>
                <a:gd name="T10" fmla="*/ 118 w 118"/>
                <a:gd name="T11" fmla="*/ 207 h 211"/>
                <a:gd name="T12" fmla="*/ 81 w 118"/>
                <a:gd name="T13" fmla="*/ 211 h 211"/>
                <a:gd name="T14" fmla="*/ 25 w 118"/>
                <a:gd name="T15" fmla="*/ 164 h 211"/>
                <a:gd name="T16" fmla="*/ 25 w 118"/>
                <a:gd name="T17" fmla="*/ 80 h 211"/>
                <a:gd name="T18" fmla="*/ 0 w 118"/>
                <a:gd name="T19" fmla="*/ 80 h 211"/>
                <a:gd name="T20" fmla="*/ 0 w 118"/>
                <a:gd name="T21" fmla="*/ 49 h 211"/>
                <a:gd name="T22" fmla="*/ 25 w 118"/>
                <a:gd name="T23" fmla="*/ 49 h 211"/>
                <a:gd name="T24" fmla="*/ 25 w 118"/>
                <a:gd name="T25" fmla="*/ 14 h 211"/>
                <a:gd name="T26" fmla="*/ 74 w 118"/>
                <a:gd name="T27" fmla="*/ 0 h 211"/>
                <a:gd name="T28" fmla="*/ 74 w 118"/>
                <a:gd name="T29" fmla="*/ 49 h 211"/>
                <a:gd name="T30" fmla="*/ 118 w 118"/>
                <a:gd name="T31" fmla="*/ 49 h 211"/>
                <a:gd name="T32" fmla="*/ 118 w 118"/>
                <a:gd name="T33" fmla="*/ 8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8" h="211">
                  <a:moveTo>
                    <a:pt x="118" y="80"/>
                  </a:moveTo>
                  <a:cubicBezTo>
                    <a:pt x="74" y="80"/>
                    <a:pt x="74" y="80"/>
                    <a:pt x="74" y="80"/>
                  </a:cubicBezTo>
                  <a:cubicBezTo>
                    <a:pt x="74" y="152"/>
                    <a:pt x="74" y="152"/>
                    <a:pt x="74" y="152"/>
                  </a:cubicBezTo>
                  <a:cubicBezTo>
                    <a:pt x="74" y="173"/>
                    <a:pt x="85" y="176"/>
                    <a:pt x="99" y="176"/>
                  </a:cubicBezTo>
                  <a:cubicBezTo>
                    <a:pt x="104" y="176"/>
                    <a:pt x="109" y="176"/>
                    <a:pt x="114" y="175"/>
                  </a:cubicBezTo>
                  <a:cubicBezTo>
                    <a:pt x="118" y="207"/>
                    <a:pt x="118" y="207"/>
                    <a:pt x="118" y="207"/>
                  </a:cubicBezTo>
                  <a:cubicBezTo>
                    <a:pt x="106" y="209"/>
                    <a:pt x="91" y="211"/>
                    <a:pt x="81" y="211"/>
                  </a:cubicBezTo>
                  <a:cubicBezTo>
                    <a:pt x="51" y="211"/>
                    <a:pt x="25" y="201"/>
                    <a:pt x="25" y="16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4" y="49"/>
                    <a:pt x="74" y="49"/>
                    <a:pt x="74" y="49"/>
                  </a:cubicBezTo>
                  <a:cubicBezTo>
                    <a:pt x="118" y="49"/>
                    <a:pt x="118" y="49"/>
                    <a:pt x="118" y="49"/>
                  </a:cubicBezTo>
                  <a:lnTo>
                    <a:pt x="118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5" name="Freeform 53"/>
            <p:cNvSpPr>
              <a:spLocks/>
            </p:cNvSpPr>
            <p:nvPr/>
          </p:nvSpPr>
          <p:spPr bwMode="gray">
            <a:xfrm>
              <a:off x="5178425" y="3173413"/>
              <a:ext cx="574675" cy="612775"/>
            </a:xfrm>
            <a:custGeom>
              <a:avLst/>
              <a:gdLst>
                <a:gd name="T0" fmla="*/ 153 w 153"/>
                <a:gd name="T1" fmla="*/ 163 h 163"/>
                <a:gd name="T2" fmla="*/ 103 w 153"/>
                <a:gd name="T3" fmla="*/ 163 h 163"/>
                <a:gd name="T4" fmla="*/ 103 w 153"/>
                <a:gd name="T5" fmla="*/ 61 h 163"/>
                <a:gd name="T6" fmla="*/ 80 w 153"/>
                <a:gd name="T7" fmla="*/ 37 h 163"/>
                <a:gd name="T8" fmla="*/ 50 w 153"/>
                <a:gd name="T9" fmla="*/ 51 h 163"/>
                <a:gd name="T10" fmla="*/ 50 w 153"/>
                <a:gd name="T11" fmla="*/ 163 h 163"/>
                <a:gd name="T12" fmla="*/ 0 w 153"/>
                <a:gd name="T13" fmla="*/ 163 h 163"/>
                <a:gd name="T14" fmla="*/ 0 w 153"/>
                <a:gd name="T15" fmla="*/ 4 h 163"/>
                <a:gd name="T16" fmla="*/ 48 w 153"/>
                <a:gd name="T17" fmla="*/ 4 h 163"/>
                <a:gd name="T18" fmla="*/ 48 w 153"/>
                <a:gd name="T19" fmla="*/ 18 h 163"/>
                <a:gd name="T20" fmla="*/ 103 w 153"/>
                <a:gd name="T21" fmla="*/ 0 h 163"/>
                <a:gd name="T22" fmla="*/ 153 w 153"/>
                <a:gd name="T23" fmla="*/ 49 h 163"/>
                <a:gd name="T24" fmla="*/ 153 w 153"/>
                <a:gd name="T2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3" h="163">
                  <a:moveTo>
                    <a:pt x="153" y="163"/>
                  </a:moveTo>
                  <a:cubicBezTo>
                    <a:pt x="103" y="163"/>
                    <a:pt x="103" y="163"/>
                    <a:pt x="103" y="163"/>
                  </a:cubicBezTo>
                  <a:cubicBezTo>
                    <a:pt x="103" y="61"/>
                    <a:pt x="103" y="61"/>
                    <a:pt x="103" y="61"/>
                  </a:cubicBezTo>
                  <a:cubicBezTo>
                    <a:pt x="103" y="46"/>
                    <a:pt x="97" y="37"/>
                    <a:pt x="80" y="37"/>
                  </a:cubicBezTo>
                  <a:cubicBezTo>
                    <a:pt x="67" y="37"/>
                    <a:pt x="59" y="43"/>
                    <a:pt x="50" y="51"/>
                  </a:cubicBezTo>
                  <a:cubicBezTo>
                    <a:pt x="50" y="163"/>
                    <a:pt x="50" y="163"/>
                    <a:pt x="50" y="163"/>
                  </a:cubicBezTo>
                  <a:cubicBezTo>
                    <a:pt x="0" y="163"/>
                    <a:pt x="0" y="163"/>
                    <a:pt x="0" y="16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64" y="7"/>
                    <a:pt x="83" y="0"/>
                    <a:pt x="103" y="0"/>
                  </a:cubicBezTo>
                  <a:cubicBezTo>
                    <a:pt x="134" y="0"/>
                    <a:pt x="153" y="20"/>
                    <a:pt x="153" y="49"/>
                  </a:cubicBezTo>
                  <a:lnTo>
                    <a:pt x="153" y="1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6" name="Freeform 54"/>
            <p:cNvSpPr>
              <a:spLocks/>
            </p:cNvSpPr>
            <p:nvPr/>
          </p:nvSpPr>
          <p:spPr bwMode="gray">
            <a:xfrm>
              <a:off x="4314825" y="2676525"/>
              <a:ext cx="487363" cy="488950"/>
            </a:xfrm>
            <a:custGeom>
              <a:avLst/>
              <a:gdLst>
                <a:gd name="T0" fmla="*/ 130 w 130"/>
                <a:gd name="T1" fmla="*/ 0 h 130"/>
                <a:gd name="T2" fmla="*/ 92 w 130"/>
                <a:gd name="T3" fmla="*/ 106 h 130"/>
                <a:gd name="T4" fmla="*/ 33 w 130"/>
                <a:gd name="T5" fmla="*/ 125 h 130"/>
                <a:gd name="T6" fmla="*/ 5 w 130"/>
                <a:gd name="T7" fmla="*/ 130 h 130"/>
                <a:gd name="T8" fmla="*/ 0 w 130"/>
                <a:gd name="T9" fmla="*/ 94 h 130"/>
                <a:gd name="T10" fmla="*/ 19 w 130"/>
                <a:gd name="T11" fmla="*/ 42 h 130"/>
                <a:gd name="T12" fmla="*/ 130 w 130"/>
                <a:gd name="T13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130">
                  <a:moveTo>
                    <a:pt x="130" y="0"/>
                  </a:moveTo>
                  <a:cubicBezTo>
                    <a:pt x="105" y="43"/>
                    <a:pt x="116" y="81"/>
                    <a:pt x="92" y="106"/>
                  </a:cubicBezTo>
                  <a:cubicBezTo>
                    <a:pt x="72" y="125"/>
                    <a:pt x="54" y="125"/>
                    <a:pt x="33" y="125"/>
                  </a:cubicBezTo>
                  <a:cubicBezTo>
                    <a:pt x="25" y="125"/>
                    <a:pt x="11" y="125"/>
                    <a:pt x="5" y="130"/>
                  </a:cubicBezTo>
                  <a:cubicBezTo>
                    <a:pt x="1" y="118"/>
                    <a:pt x="0" y="106"/>
                    <a:pt x="0" y="94"/>
                  </a:cubicBezTo>
                  <a:cubicBezTo>
                    <a:pt x="0" y="74"/>
                    <a:pt x="4" y="56"/>
                    <a:pt x="19" y="42"/>
                  </a:cubicBezTo>
                  <a:cubicBezTo>
                    <a:pt x="46" y="14"/>
                    <a:pt x="97" y="5"/>
                    <a:pt x="13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7" name="Freeform 55"/>
            <p:cNvSpPr>
              <a:spLocks/>
            </p:cNvSpPr>
            <p:nvPr/>
          </p:nvSpPr>
          <p:spPr bwMode="gray">
            <a:xfrm>
              <a:off x="3228975" y="3173413"/>
              <a:ext cx="571500" cy="612775"/>
            </a:xfrm>
            <a:custGeom>
              <a:avLst/>
              <a:gdLst>
                <a:gd name="T0" fmla="*/ 152 w 152"/>
                <a:gd name="T1" fmla="*/ 163 h 163"/>
                <a:gd name="T2" fmla="*/ 103 w 152"/>
                <a:gd name="T3" fmla="*/ 163 h 163"/>
                <a:gd name="T4" fmla="*/ 103 w 152"/>
                <a:gd name="T5" fmla="*/ 61 h 163"/>
                <a:gd name="T6" fmla="*/ 79 w 152"/>
                <a:gd name="T7" fmla="*/ 37 h 163"/>
                <a:gd name="T8" fmla="*/ 49 w 152"/>
                <a:gd name="T9" fmla="*/ 51 h 163"/>
                <a:gd name="T10" fmla="*/ 49 w 152"/>
                <a:gd name="T11" fmla="*/ 163 h 163"/>
                <a:gd name="T12" fmla="*/ 0 w 152"/>
                <a:gd name="T13" fmla="*/ 163 h 163"/>
                <a:gd name="T14" fmla="*/ 0 w 152"/>
                <a:gd name="T15" fmla="*/ 4 h 163"/>
                <a:gd name="T16" fmla="*/ 48 w 152"/>
                <a:gd name="T17" fmla="*/ 4 h 163"/>
                <a:gd name="T18" fmla="*/ 48 w 152"/>
                <a:gd name="T19" fmla="*/ 18 h 163"/>
                <a:gd name="T20" fmla="*/ 102 w 152"/>
                <a:gd name="T21" fmla="*/ 0 h 163"/>
                <a:gd name="T22" fmla="*/ 152 w 152"/>
                <a:gd name="T23" fmla="*/ 49 h 163"/>
                <a:gd name="T24" fmla="*/ 152 w 152"/>
                <a:gd name="T2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2" h="163">
                  <a:moveTo>
                    <a:pt x="152" y="163"/>
                  </a:moveTo>
                  <a:cubicBezTo>
                    <a:pt x="103" y="163"/>
                    <a:pt x="103" y="163"/>
                    <a:pt x="103" y="163"/>
                  </a:cubicBezTo>
                  <a:cubicBezTo>
                    <a:pt x="103" y="61"/>
                    <a:pt x="103" y="61"/>
                    <a:pt x="103" y="61"/>
                  </a:cubicBezTo>
                  <a:cubicBezTo>
                    <a:pt x="103" y="46"/>
                    <a:pt x="96" y="37"/>
                    <a:pt x="79" y="37"/>
                  </a:cubicBezTo>
                  <a:cubicBezTo>
                    <a:pt x="67" y="37"/>
                    <a:pt x="58" y="43"/>
                    <a:pt x="49" y="51"/>
                  </a:cubicBezTo>
                  <a:cubicBezTo>
                    <a:pt x="49" y="163"/>
                    <a:pt x="49" y="163"/>
                    <a:pt x="49" y="163"/>
                  </a:cubicBezTo>
                  <a:cubicBezTo>
                    <a:pt x="0" y="163"/>
                    <a:pt x="0" y="163"/>
                    <a:pt x="0" y="16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64" y="7"/>
                    <a:pt x="82" y="0"/>
                    <a:pt x="102" y="0"/>
                  </a:cubicBezTo>
                  <a:cubicBezTo>
                    <a:pt x="134" y="0"/>
                    <a:pt x="152" y="20"/>
                    <a:pt x="152" y="49"/>
                  </a:cubicBezTo>
                  <a:lnTo>
                    <a:pt x="152" y="1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8" name="Freeform 56"/>
            <p:cNvSpPr>
              <a:spLocks/>
            </p:cNvSpPr>
            <p:nvPr/>
          </p:nvSpPr>
          <p:spPr bwMode="gray">
            <a:xfrm>
              <a:off x="2492375" y="3187700"/>
              <a:ext cx="698500" cy="917575"/>
            </a:xfrm>
            <a:custGeom>
              <a:avLst/>
              <a:gdLst>
                <a:gd name="T0" fmla="*/ 186 w 186"/>
                <a:gd name="T1" fmla="*/ 0 h 244"/>
                <a:gd name="T2" fmla="*/ 106 w 186"/>
                <a:gd name="T3" fmla="*/ 192 h 244"/>
                <a:gd name="T4" fmla="*/ 36 w 186"/>
                <a:gd name="T5" fmla="*/ 244 h 244"/>
                <a:gd name="T6" fmla="*/ 0 w 186"/>
                <a:gd name="T7" fmla="*/ 239 h 244"/>
                <a:gd name="T8" fmla="*/ 7 w 186"/>
                <a:gd name="T9" fmla="*/ 207 h 244"/>
                <a:gd name="T10" fmla="*/ 28 w 186"/>
                <a:gd name="T11" fmla="*/ 210 h 244"/>
                <a:gd name="T12" fmla="*/ 68 w 186"/>
                <a:gd name="T13" fmla="*/ 170 h 244"/>
                <a:gd name="T14" fmla="*/ 73 w 186"/>
                <a:gd name="T15" fmla="*/ 159 h 244"/>
                <a:gd name="T16" fmla="*/ 12 w 186"/>
                <a:gd name="T17" fmla="*/ 0 h 244"/>
                <a:gd name="T18" fmla="*/ 65 w 186"/>
                <a:gd name="T19" fmla="*/ 0 h 244"/>
                <a:gd name="T20" fmla="*/ 94 w 186"/>
                <a:gd name="T21" fmla="*/ 78 h 244"/>
                <a:gd name="T22" fmla="*/ 101 w 186"/>
                <a:gd name="T23" fmla="*/ 105 h 244"/>
                <a:gd name="T24" fmla="*/ 110 w 186"/>
                <a:gd name="T25" fmla="*/ 77 h 244"/>
                <a:gd name="T26" fmla="*/ 139 w 186"/>
                <a:gd name="T27" fmla="*/ 0 h 244"/>
                <a:gd name="T28" fmla="*/ 186 w 186"/>
                <a:gd name="T29" fmla="*/ 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6" h="244">
                  <a:moveTo>
                    <a:pt x="186" y="0"/>
                  </a:moveTo>
                  <a:cubicBezTo>
                    <a:pt x="106" y="192"/>
                    <a:pt x="106" y="192"/>
                    <a:pt x="106" y="192"/>
                  </a:cubicBezTo>
                  <a:cubicBezTo>
                    <a:pt x="94" y="222"/>
                    <a:pt x="70" y="244"/>
                    <a:pt x="36" y="244"/>
                  </a:cubicBezTo>
                  <a:cubicBezTo>
                    <a:pt x="20" y="244"/>
                    <a:pt x="11" y="241"/>
                    <a:pt x="0" y="239"/>
                  </a:cubicBezTo>
                  <a:cubicBezTo>
                    <a:pt x="7" y="207"/>
                    <a:pt x="7" y="207"/>
                    <a:pt x="7" y="207"/>
                  </a:cubicBezTo>
                  <a:cubicBezTo>
                    <a:pt x="16" y="209"/>
                    <a:pt x="22" y="210"/>
                    <a:pt x="28" y="210"/>
                  </a:cubicBezTo>
                  <a:cubicBezTo>
                    <a:pt x="48" y="210"/>
                    <a:pt x="59" y="193"/>
                    <a:pt x="68" y="170"/>
                  </a:cubicBezTo>
                  <a:cubicBezTo>
                    <a:pt x="73" y="159"/>
                    <a:pt x="73" y="159"/>
                    <a:pt x="73" y="159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94" y="78"/>
                    <a:pt x="94" y="78"/>
                    <a:pt x="94" y="78"/>
                  </a:cubicBezTo>
                  <a:cubicBezTo>
                    <a:pt x="97" y="88"/>
                    <a:pt x="99" y="98"/>
                    <a:pt x="101" y="105"/>
                  </a:cubicBezTo>
                  <a:cubicBezTo>
                    <a:pt x="102" y="98"/>
                    <a:pt x="106" y="86"/>
                    <a:pt x="110" y="77"/>
                  </a:cubicBezTo>
                  <a:cubicBezTo>
                    <a:pt x="139" y="0"/>
                    <a:pt x="139" y="0"/>
                    <a:pt x="139" y="0"/>
                  </a:cubicBezTo>
                  <a:lnTo>
                    <a:pt x="18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9" name="Freeform 57"/>
            <p:cNvSpPr>
              <a:spLocks/>
            </p:cNvSpPr>
            <p:nvPr/>
          </p:nvSpPr>
          <p:spPr bwMode="gray">
            <a:xfrm>
              <a:off x="2024063" y="3162300"/>
              <a:ext cx="509588" cy="631825"/>
            </a:xfrm>
            <a:custGeom>
              <a:avLst/>
              <a:gdLst>
                <a:gd name="T0" fmla="*/ 136 w 136"/>
                <a:gd name="T1" fmla="*/ 115 h 168"/>
                <a:gd name="T2" fmla="*/ 66 w 136"/>
                <a:gd name="T3" fmla="*/ 168 h 168"/>
                <a:gd name="T4" fmla="*/ 0 w 136"/>
                <a:gd name="T5" fmla="*/ 156 h 168"/>
                <a:gd name="T6" fmla="*/ 14 w 136"/>
                <a:gd name="T7" fmla="*/ 124 h 168"/>
                <a:gd name="T8" fmla="*/ 59 w 136"/>
                <a:gd name="T9" fmla="*/ 134 h 168"/>
                <a:gd name="T10" fmla="*/ 86 w 136"/>
                <a:gd name="T11" fmla="*/ 119 h 168"/>
                <a:gd name="T12" fmla="*/ 75 w 136"/>
                <a:gd name="T13" fmla="*/ 107 h 168"/>
                <a:gd name="T14" fmla="*/ 41 w 136"/>
                <a:gd name="T15" fmla="*/ 99 h 168"/>
                <a:gd name="T16" fmla="*/ 4 w 136"/>
                <a:gd name="T17" fmla="*/ 53 h 168"/>
                <a:gd name="T18" fmla="*/ 71 w 136"/>
                <a:gd name="T19" fmla="*/ 0 h 168"/>
                <a:gd name="T20" fmla="*/ 126 w 136"/>
                <a:gd name="T21" fmla="*/ 8 h 168"/>
                <a:gd name="T22" fmla="*/ 114 w 136"/>
                <a:gd name="T23" fmla="*/ 40 h 168"/>
                <a:gd name="T24" fmla="*/ 77 w 136"/>
                <a:gd name="T25" fmla="*/ 33 h 168"/>
                <a:gd name="T26" fmla="*/ 54 w 136"/>
                <a:gd name="T27" fmla="*/ 46 h 168"/>
                <a:gd name="T28" fmla="*/ 64 w 136"/>
                <a:gd name="T29" fmla="*/ 58 h 168"/>
                <a:gd name="T30" fmla="*/ 94 w 136"/>
                <a:gd name="T31" fmla="*/ 65 h 168"/>
                <a:gd name="T32" fmla="*/ 136 w 136"/>
                <a:gd name="T33" fmla="*/ 115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68">
                  <a:moveTo>
                    <a:pt x="136" y="115"/>
                  </a:moveTo>
                  <a:cubicBezTo>
                    <a:pt x="136" y="149"/>
                    <a:pt x="104" y="168"/>
                    <a:pt x="66" y="168"/>
                  </a:cubicBezTo>
                  <a:cubicBezTo>
                    <a:pt x="41" y="168"/>
                    <a:pt x="21" y="164"/>
                    <a:pt x="0" y="156"/>
                  </a:cubicBezTo>
                  <a:cubicBezTo>
                    <a:pt x="14" y="124"/>
                    <a:pt x="14" y="124"/>
                    <a:pt x="14" y="124"/>
                  </a:cubicBezTo>
                  <a:cubicBezTo>
                    <a:pt x="26" y="129"/>
                    <a:pt x="44" y="134"/>
                    <a:pt x="59" y="134"/>
                  </a:cubicBezTo>
                  <a:cubicBezTo>
                    <a:pt x="70" y="134"/>
                    <a:pt x="86" y="133"/>
                    <a:pt x="86" y="119"/>
                  </a:cubicBezTo>
                  <a:cubicBezTo>
                    <a:pt x="86" y="113"/>
                    <a:pt x="82" y="109"/>
                    <a:pt x="75" y="107"/>
                  </a:cubicBezTo>
                  <a:cubicBezTo>
                    <a:pt x="65" y="104"/>
                    <a:pt x="51" y="102"/>
                    <a:pt x="41" y="99"/>
                  </a:cubicBezTo>
                  <a:cubicBezTo>
                    <a:pt x="21" y="93"/>
                    <a:pt x="4" y="83"/>
                    <a:pt x="4" y="53"/>
                  </a:cubicBezTo>
                  <a:cubicBezTo>
                    <a:pt x="4" y="21"/>
                    <a:pt x="32" y="0"/>
                    <a:pt x="71" y="0"/>
                  </a:cubicBezTo>
                  <a:cubicBezTo>
                    <a:pt x="96" y="0"/>
                    <a:pt x="112" y="3"/>
                    <a:pt x="126" y="8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07" y="37"/>
                    <a:pt x="90" y="33"/>
                    <a:pt x="77" y="33"/>
                  </a:cubicBezTo>
                  <a:cubicBezTo>
                    <a:pt x="64" y="33"/>
                    <a:pt x="54" y="38"/>
                    <a:pt x="54" y="46"/>
                  </a:cubicBezTo>
                  <a:cubicBezTo>
                    <a:pt x="54" y="50"/>
                    <a:pt x="57" y="56"/>
                    <a:pt x="64" y="58"/>
                  </a:cubicBezTo>
                  <a:cubicBezTo>
                    <a:pt x="72" y="60"/>
                    <a:pt x="84" y="63"/>
                    <a:pt x="94" y="65"/>
                  </a:cubicBezTo>
                  <a:cubicBezTo>
                    <a:pt x="115" y="70"/>
                    <a:pt x="136" y="82"/>
                    <a:pt x="136" y="1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0" name="Freeform 58"/>
            <p:cNvSpPr>
              <a:spLocks noEditPoints="1"/>
            </p:cNvSpPr>
            <p:nvPr/>
          </p:nvSpPr>
          <p:spPr bwMode="gray">
            <a:xfrm>
              <a:off x="6289675" y="3173413"/>
              <a:ext cx="530225" cy="623888"/>
            </a:xfrm>
            <a:custGeom>
              <a:avLst/>
              <a:gdLst>
                <a:gd name="T0" fmla="*/ 141 w 141"/>
                <a:gd name="T1" fmla="*/ 163 h 166"/>
                <a:gd name="T2" fmla="*/ 95 w 141"/>
                <a:gd name="T3" fmla="*/ 163 h 166"/>
                <a:gd name="T4" fmla="*/ 95 w 141"/>
                <a:gd name="T5" fmla="*/ 150 h 166"/>
                <a:gd name="T6" fmla="*/ 49 w 141"/>
                <a:gd name="T7" fmla="*/ 166 h 166"/>
                <a:gd name="T8" fmla="*/ 0 w 141"/>
                <a:gd name="T9" fmla="*/ 122 h 166"/>
                <a:gd name="T10" fmla="*/ 93 w 141"/>
                <a:gd name="T11" fmla="*/ 61 h 166"/>
                <a:gd name="T12" fmla="*/ 93 w 141"/>
                <a:gd name="T13" fmla="*/ 56 h 166"/>
                <a:gd name="T14" fmla="*/ 65 w 141"/>
                <a:gd name="T15" fmla="*/ 34 h 166"/>
                <a:gd name="T16" fmla="*/ 19 w 141"/>
                <a:gd name="T17" fmla="*/ 49 h 166"/>
                <a:gd name="T18" fmla="*/ 7 w 141"/>
                <a:gd name="T19" fmla="*/ 20 h 166"/>
                <a:gd name="T20" fmla="*/ 79 w 141"/>
                <a:gd name="T21" fmla="*/ 0 h 166"/>
                <a:gd name="T22" fmla="*/ 141 w 141"/>
                <a:gd name="T23" fmla="*/ 50 h 166"/>
                <a:gd name="T24" fmla="*/ 141 w 141"/>
                <a:gd name="T25" fmla="*/ 163 h 166"/>
                <a:gd name="T26" fmla="*/ 93 w 141"/>
                <a:gd name="T27" fmla="*/ 120 h 166"/>
                <a:gd name="T28" fmla="*/ 93 w 141"/>
                <a:gd name="T29" fmla="*/ 91 h 166"/>
                <a:gd name="T30" fmla="*/ 49 w 141"/>
                <a:gd name="T31" fmla="*/ 115 h 166"/>
                <a:gd name="T32" fmla="*/ 69 w 141"/>
                <a:gd name="T33" fmla="*/ 132 h 166"/>
                <a:gd name="T34" fmla="*/ 93 w 141"/>
                <a:gd name="T35" fmla="*/ 12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1" h="166">
                  <a:moveTo>
                    <a:pt x="141" y="163"/>
                  </a:moveTo>
                  <a:cubicBezTo>
                    <a:pt x="95" y="163"/>
                    <a:pt x="95" y="163"/>
                    <a:pt x="95" y="163"/>
                  </a:cubicBezTo>
                  <a:cubicBezTo>
                    <a:pt x="95" y="150"/>
                    <a:pt x="95" y="150"/>
                    <a:pt x="95" y="150"/>
                  </a:cubicBezTo>
                  <a:cubicBezTo>
                    <a:pt x="83" y="161"/>
                    <a:pt x="67" y="166"/>
                    <a:pt x="49" y="166"/>
                  </a:cubicBezTo>
                  <a:cubicBezTo>
                    <a:pt x="20" y="166"/>
                    <a:pt x="0" y="152"/>
                    <a:pt x="0" y="122"/>
                  </a:cubicBezTo>
                  <a:cubicBezTo>
                    <a:pt x="0" y="69"/>
                    <a:pt x="52" y="61"/>
                    <a:pt x="93" y="61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3" y="43"/>
                    <a:pt x="88" y="34"/>
                    <a:pt x="65" y="34"/>
                  </a:cubicBezTo>
                  <a:cubicBezTo>
                    <a:pt x="49" y="34"/>
                    <a:pt x="31" y="42"/>
                    <a:pt x="19" y="49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28" y="8"/>
                    <a:pt x="54" y="0"/>
                    <a:pt x="79" y="0"/>
                  </a:cubicBezTo>
                  <a:cubicBezTo>
                    <a:pt x="117" y="0"/>
                    <a:pt x="141" y="18"/>
                    <a:pt x="141" y="50"/>
                  </a:cubicBezTo>
                  <a:lnTo>
                    <a:pt x="141" y="163"/>
                  </a:lnTo>
                  <a:close/>
                  <a:moveTo>
                    <a:pt x="93" y="120"/>
                  </a:moveTo>
                  <a:cubicBezTo>
                    <a:pt x="93" y="91"/>
                    <a:pt x="93" y="91"/>
                    <a:pt x="93" y="91"/>
                  </a:cubicBezTo>
                  <a:cubicBezTo>
                    <a:pt x="70" y="90"/>
                    <a:pt x="49" y="93"/>
                    <a:pt x="49" y="115"/>
                  </a:cubicBezTo>
                  <a:cubicBezTo>
                    <a:pt x="49" y="128"/>
                    <a:pt x="60" y="132"/>
                    <a:pt x="69" y="132"/>
                  </a:cubicBezTo>
                  <a:cubicBezTo>
                    <a:pt x="79" y="132"/>
                    <a:pt x="87" y="127"/>
                    <a:pt x="93" y="1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1" name="Freeform 59"/>
            <p:cNvSpPr>
              <a:spLocks noEditPoints="1"/>
            </p:cNvSpPr>
            <p:nvPr/>
          </p:nvSpPr>
          <p:spPr bwMode="gray">
            <a:xfrm>
              <a:off x="4502150" y="3173413"/>
              <a:ext cx="596900" cy="623888"/>
            </a:xfrm>
            <a:custGeom>
              <a:avLst/>
              <a:gdLst>
                <a:gd name="T0" fmla="*/ 159 w 159"/>
                <a:gd name="T1" fmla="*/ 77 h 166"/>
                <a:gd name="T2" fmla="*/ 158 w 159"/>
                <a:gd name="T3" fmla="*/ 94 h 166"/>
                <a:gd name="T4" fmla="*/ 53 w 159"/>
                <a:gd name="T5" fmla="*/ 94 h 166"/>
                <a:gd name="T6" fmla="*/ 98 w 159"/>
                <a:gd name="T7" fmla="*/ 130 h 166"/>
                <a:gd name="T8" fmla="*/ 139 w 159"/>
                <a:gd name="T9" fmla="*/ 118 h 166"/>
                <a:gd name="T10" fmla="*/ 152 w 159"/>
                <a:gd name="T11" fmla="*/ 148 h 166"/>
                <a:gd name="T12" fmla="*/ 81 w 159"/>
                <a:gd name="T13" fmla="*/ 166 h 166"/>
                <a:gd name="T14" fmla="*/ 0 w 159"/>
                <a:gd name="T15" fmla="*/ 83 h 166"/>
                <a:gd name="T16" fmla="*/ 84 w 159"/>
                <a:gd name="T17" fmla="*/ 0 h 166"/>
                <a:gd name="T18" fmla="*/ 159 w 159"/>
                <a:gd name="T19" fmla="*/ 77 h 166"/>
                <a:gd name="T20" fmla="*/ 108 w 159"/>
                <a:gd name="T21" fmla="*/ 62 h 166"/>
                <a:gd name="T22" fmla="*/ 83 w 159"/>
                <a:gd name="T23" fmla="*/ 34 h 166"/>
                <a:gd name="T24" fmla="*/ 53 w 159"/>
                <a:gd name="T25" fmla="*/ 62 h 166"/>
                <a:gd name="T26" fmla="*/ 108 w 159"/>
                <a:gd name="T27" fmla="*/ 62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9" h="166">
                  <a:moveTo>
                    <a:pt x="159" y="77"/>
                  </a:moveTo>
                  <a:cubicBezTo>
                    <a:pt x="159" y="83"/>
                    <a:pt x="158" y="88"/>
                    <a:pt x="158" y="94"/>
                  </a:cubicBezTo>
                  <a:cubicBezTo>
                    <a:pt x="53" y="94"/>
                    <a:pt x="53" y="94"/>
                    <a:pt x="53" y="94"/>
                  </a:cubicBezTo>
                  <a:cubicBezTo>
                    <a:pt x="53" y="117"/>
                    <a:pt x="65" y="130"/>
                    <a:pt x="98" y="130"/>
                  </a:cubicBezTo>
                  <a:cubicBezTo>
                    <a:pt x="113" y="130"/>
                    <a:pt x="131" y="124"/>
                    <a:pt x="139" y="118"/>
                  </a:cubicBezTo>
                  <a:cubicBezTo>
                    <a:pt x="152" y="148"/>
                    <a:pt x="152" y="148"/>
                    <a:pt x="152" y="148"/>
                  </a:cubicBezTo>
                  <a:cubicBezTo>
                    <a:pt x="130" y="160"/>
                    <a:pt x="107" y="166"/>
                    <a:pt x="81" y="166"/>
                  </a:cubicBezTo>
                  <a:cubicBezTo>
                    <a:pt x="31" y="166"/>
                    <a:pt x="0" y="134"/>
                    <a:pt x="0" y="83"/>
                  </a:cubicBezTo>
                  <a:cubicBezTo>
                    <a:pt x="0" y="32"/>
                    <a:pt x="41" y="0"/>
                    <a:pt x="84" y="0"/>
                  </a:cubicBezTo>
                  <a:cubicBezTo>
                    <a:pt x="139" y="0"/>
                    <a:pt x="159" y="32"/>
                    <a:pt x="159" y="77"/>
                  </a:cubicBezTo>
                  <a:close/>
                  <a:moveTo>
                    <a:pt x="108" y="62"/>
                  </a:moveTo>
                  <a:cubicBezTo>
                    <a:pt x="109" y="44"/>
                    <a:pt x="100" y="34"/>
                    <a:pt x="83" y="34"/>
                  </a:cubicBezTo>
                  <a:cubicBezTo>
                    <a:pt x="66" y="34"/>
                    <a:pt x="56" y="46"/>
                    <a:pt x="53" y="62"/>
                  </a:cubicBezTo>
                  <a:lnTo>
                    <a:pt x="108" y="6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2" name="Freeform 60"/>
            <p:cNvSpPr>
              <a:spLocks noEditPoints="1"/>
            </p:cNvSpPr>
            <p:nvPr/>
          </p:nvSpPr>
          <p:spPr bwMode="gray">
            <a:xfrm>
              <a:off x="3863975" y="3170238"/>
              <a:ext cx="642938" cy="946150"/>
            </a:xfrm>
            <a:custGeom>
              <a:avLst/>
              <a:gdLst>
                <a:gd name="T0" fmla="*/ 171 w 171"/>
                <a:gd name="T1" fmla="*/ 183 h 252"/>
                <a:gd name="T2" fmla="*/ 79 w 171"/>
                <a:gd name="T3" fmla="*/ 251 h 252"/>
                <a:gd name="T4" fmla="*/ 0 w 171"/>
                <a:gd name="T5" fmla="*/ 201 h 252"/>
                <a:gd name="T6" fmla="*/ 26 w 171"/>
                <a:gd name="T7" fmla="*/ 165 h 252"/>
                <a:gd name="T8" fmla="*/ 11 w 171"/>
                <a:gd name="T9" fmla="*/ 155 h 252"/>
                <a:gd name="T10" fmla="*/ 3 w 171"/>
                <a:gd name="T11" fmla="*/ 130 h 252"/>
                <a:gd name="T12" fmla="*/ 33 w 171"/>
                <a:gd name="T13" fmla="*/ 91 h 252"/>
                <a:gd name="T14" fmla="*/ 12 w 171"/>
                <a:gd name="T15" fmla="*/ 52 h 252"/>
                <a:gd name="T16" fmla="*/ 86 w 171"/>
                <a:gd name="T17" fmla="*/ 0 h 252"/>
                <a:gd name="T18" fmla="*/ 156 w 171"/>
                <a:gd name="T19" fmla="*/ 51 h 252"/>
                <a:gd name="T20" fmla="*/ 81 w 171"/>
                <a:gd name="T21" fmla="*/ 105 h 252"/>
                <a:gd name="T22" fmla="*/ 61 w 171"/>
                <a:gd name="T23" fmla="*/ 103 h 252"/>
                <a:gd name="T24" fmla="*/ 49 w 171"/>
                <a:gd name="T25" fmla="*/ 117 h 252"/>
                <a:gd name="T26" fmla="*/ 73 w 171"/>
                <a:gd name="T27" fmla="*/ 131 h 252"/>
                <a:gd name="T28" fmla="*/ 112 w 171"/>
                <a:gd name="T29" fmla="*/ 131 h 252"/>
                <a:gd name="T30" fmla="*/ 171 w 171"/>
                <a:gd name="T31" fmla="*/ 183 h 252"/>
                <a:gd name="T32" fmla="*/ 108 w 171"/>
                <a:gd name="T33" fmla="*/ 53 h 252"/>
                <a:gd name="T34" fmla="*/ 84 w 171"/>
                <a:gd name="T35" fmla="*/ 29 h 252"/>
                <a:gd name="T36" fmla="*/ 60 w 171"/>
                <a:gd name="T37" fmla="*/ 53 h 252"/>
                <a:gd name="T38" fmla="*/ 83 w 171"/>
                <a:gd name="T39" fmla="*/ 77 h 252"/>
                <a:gd name="T40" fmla="*/ 108 w 171"/>
                <a:gd name="T41" fmla="*/ 53 h 252"/>
                <a:gd name="T42" fmla="*/ 121 w 171"/>
                <a:gd name="T43" fmla="*/ 190 h 252"/>
                <a:gd name="T44" fmla="*/ 100 w 171"/>
                <a:gd name="T45" fmla="*/ 172 h 252"/>
                <a:gd name="T46" fmla="*/ 57 w 171"/>
                <a:gd name="T47" fmla="*/ 172 h 252"/>
                <a:gd name="T48" fmla="*/ 40 w 171"/>
                <a:gd name="T49" fmla="*/ 195 h 252"/>
                <a:gd name="T50" fmla="*/ 81 w 171"/>
                <a:gd name="T51" fmla="*/ 218 h 252"/>
                <a:gd name="T52" fmla="*/ 121 w 171"/>
                <a:gd name="T53" fmla="*/ 190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1" h="252">
                  <a:moveTo>
                    <a:pt x="171" y="183"/>
                  </a:moveTo>
                  <a:cubicBezTo>
                    <a:pt x="171" y="230"/>
                    <a:pt x="124" y="251"/>
                    <a:pt x="79" y="251"/>
                  </a:cubicBezTo>
                  <a:cubicBezTo>
                    <a:pt x="39" y="252"/>
                    <a:pt x="0" y="240"/>
                    <a:pt x="0" y="201"/>
                  </a:cubicBezTo>
                  <a:cubicBezTo>
                    <a:pt x="0" y="183"/>
                    <a:pt x="16" y="171"/>
                    <a:pt x="26" y="165"/>
                  </a:cubicBezTo>
                  <a:cubicBezTo>
                    <a:pt x="20" y="162"/>
                    <a:pt x="15" y="160"/>
                    <a:pt x="11" y="155"/>
                  </a:cubicBezTo>
                  <a:cubicBezTo>
                    <a:pt x="7" y="150"/>
                    <a:pt x="3" y="142"/>
                    <a:pt x="3" y="130"/>
                  </a:cubicBezTo>
                  <a:cubicBezTo>
                    <a:pt x="3" y="115"/>
                    <a:pt x="17" y="100"/>
                    <a:pt x="33" y="91"/>
                  </a:cubicBezTo>
                  <a:cubicBezTo>
                    <a:pt x="24" y="86"/>
                    <a:pt x="12" y="78"/>
                    <a:pt x="12" y="52"/>
                  </a:cubicBezTo>
                  <a:cubicBezTo>
                    <a:pt x="12" y="18"/>
                    <a:pt x="44" y="0"/>
                    <a:pt x="86" y="0"/>
                  </a:cubicBezTo>
                  <a:cubicBezTo>
                    <a:pt x="122" y="0"/>
                    <a:pt x="156" y="9"/>
                    <a:pt x="156" y="51"/>
                  </a:cubicBezTo>
                  <a:cubicBezTo>
                    <a:pt x="156" y="91"/>
                    <a:pt x="119" y="105"/>
                    <a:pt x="81" y="105"/>
                  </a:cubicBezTo>
                  <a:cubicBezTo>
                    <a:pt x="73" y="105"/>
                    <a:pt x="67" y="104"/>
                    <a:pt x="61" y="103"/>
                  </a:cubicBezTo>
                  <a:cubicBezTo>
                    <a:pt x="57" y="105"/>
                    <a:pt x="49" y="111"/>
                    <a:pt x="49" y="117"/>
                  </a:cubicBezTo>
                  <a:cubicBezTo>
                    <a:pt x="49" y="129"/>
                    <a:pt x="66" y="131"/>
                    <a:pt x="73" y="131"/>
                  </a:cubicBezTo>
                  <a:cubicBezTo>
                    <a:pt x="112" y="131"/>
                    <a:pt x="112" y="131"/>
                    <a:pt x="112" y="131"/>
                  </a:cubicBezTo>
                  <a:cubicBezTo>
                    <a:pt x="149" y="131"/>
                    <a:pt x="171" y="148"/>
                    <a:pt x="171" y="183"/>
                  </a:cubicBezTo>
                  <a:close/>
                  <a:moveTo>
                    <a:pt x="108" y="53"/>
                  </a:moveTo>
                  <a:cubicBezTo>
                    <a:pt x="108" y="40"/>
                    <a:pt x="101" y="29"/>
                    <a:pt x="84" y="29"/>
                  </a:cubicBezTo>
                  <a:cubicBezTo>
                    <a:pt x="69" y="29"/>
                    <a:pt x="60" y="42"/>
                    <a:pt x="60" y="53"/>
                  </a:cubicBezTo>
                  <a:cubicBezTo>
                    <a:pt x="60" y="67"/>
                    <a:pt x="68" y="77"/>
                    <a:pt x="83" y="77"/>
                  </a:cubicBezTo>
                  <a:cubicBezTo>
                    <a:pt x="100" y="77"/>
                    <a:pt x="108" y="66"/>
                    <a:pt x="108" y="53"/>
                  </a:cubicBezTo>
                  <a:close/>
                  <a:moveTo>
                    <a:pt x="121" y="190"/>
                  </a:moveTo>
                  <a:cubicBezTo>
                    <a:pt x="121" y="177"/>
                    <a:pt x="111" y="172"/>
                    <a:pt x="100" y="172"/>
                  </a:cubicBezTo>
                  <a:cubicBezTo>
                    <a:pt x="57" y="172"/>
                    <a:pt x="57" y="172"/>
                    <a:pt x="57" y="172"/>
                  </a:cubicBezTo>
                  <a:cubicBezTo>
                    <a:pt x="50" y="176"/>
                    <a:pt x="40" y="184"/>
                    <a:pt x="40" y="195"/>
                  </a:cubicBezTo>
                  <a:cubicBezTo>
                    <a:pt x="40" y="209"/>
                    <a:pt x="59" y="218"/>
                    <a:pt x="81" y="218"/>
                  </a:cubicBezTo>
                  <a:cubicBezTo>
                    <a:pt x="104" y="218"/>
                    <a:pt x="121" y="208"/>
                    <a:pt x="121" y="19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3" name="Freeform 61"/>
            <p:cNvSpPr>
              <a:spLocks noEditPoints="1"/>
            </p:cNvSpPr>
            <p:nvPr/>
          </p:nvSpPr>
          <p:spPr bwMode="gray">
            <a:xfrm>
              <a:off x="6929438" y="3563938"/>
              <a:ext cx="206375" cy="203200"/>
            </a:xfrm>
            <a:custGeom>
              <a:avLst/>
              <a:gdLst>
                <a:gd name="T0" fmla="*/ 27 w 55"/>
                <a:gd name="T1" fmla="*/ 0 h 54"/>
                <a:gd name="T2" fmla="*/ 55 w 55"/>
                <a:gd name="T3" fmla="*/ 27 h 54"/>
                <a:gd name="T4" fmla="*/ 27 w 55"/>
                <a:gd name="T5" fmla="*/ 54 h 54"/>
                <a:gd name="T6" fmla="*/ 0 w 55"/>
                <a:gd name="T7" fmla="*/ 27 h 54"/>
                <a:gd name="T8" fmla="*/ 27 w 55"/>
                <a:gd name="T9" fmla="*/ 0 h 54"/>
                <a:gd name="T10" fmla="*/ 27 w 55"/>
                <a:gd name="T11" fmla="*/ 49 h 54"/>
                <a:gd name="T12" fmla="*/ 48 w 55"/>
                <a:gd name="T13" fmla="*/ 27 h 54"/>
                <a:gd name="T14" fmla="*/ 27 w 55"/>
                <a:gd name="T15" fmla="*/ 6 h 54"/>
                <a:gd name="T16" fmla="*/ 7 w 55"/>
                <a:gd name="T17" fmla="*/ 27 h 54"/>
                <a:gd name="T18" fmla="*/ 27 w 55"/>
                <a:gd name="T19" fmla="*/ 49 h 54"/>
                <a:gd name="T20" fmla="*/ 17 w 55"/>
                <a:gd name="T21" fmla="*/ 12 h 54"/>
                <a:gd name="T22" fmla="*/ 28 w 55"/>
                <a:gd name="T23" fmla="*/ 12 h 54"/>
                <a:gd name="T24" fmla="*/ 40 w 55"/>
                <a:gd name="T25" fmla="*/ 21 h 54"/>
                <a:gd name="T26" fmla="*/ 32 w 55"/>
                <a:gd name="T27" fmla="*/ 29 h 54"/>
                <a:gd name="T28" fmla="*/ 40 w 55"/>
                <a:gd name="T29" fmla="*/ 42 h 54"/>
                <a:gd name="T30" fmla="*/ 34 w 55"/>
                <a:gd name="T31" fmla="*/ 42 h 54"/>
                <a:gd name="T32" fmla="*/ 26 w 55"/>
                <a:gd name="T33" fmla="*/ 29 h 54"/>
                <a:gd name="T34" fmla="*/ 23 w 55"/>
                <a:gd name="T35" fmla="*/ 29 h 54"/>
                <a:gd name="T36" fmla="*/ 23 w 55"/>
                <a:gd name="T37" fmla="*/ 42 h 54"/>
                <a:gd name="T38" fmla="*/ 17 w 55"/>
                <a:gd name="T39" fmla="*/ 42 h 54"/>
                <a:gd name="T40" fmla="*/ 17 w 55"/>
                <a:gd name="T41" fmla="*/ 12 h 54"/>
                <a:gd name="T42" fmla="*/ 23 w 55"/>
                <a:gd name="T43" fmla="*/ 25 h 54"/>
                <a:gd name="T44" fmla="*/ 28 w 55"/>
                <a:gd name="T45" fmla="*/ 25 h 54"/>
                <a:gd name="T46" fmla="*/ 34 w 55"/>
                <a:gd name="T47" fmla="*/ 20 h 54"/>
                <a:gd name="T48" fmla="*/ 28 w 55"/>
                <a:gd name="T49" fmla="*/ 17 h 54"/>
                <a:gd name="T50" fmla="*/ 23 w 55"/>
                <a:gd name="T51" fmla="*/ 17 h 54"/>
                <a:gd name="T52" fmla="*/ 23 w 55"/>
                <a:gd name="T53" fmla="*/ 2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4">
                  <a:moveTo>
                    <a:pt x="27" y="0"/>
                  </a:moveTo>
                  <a:cubicBezTo>
                    <a:pt x="42" y="0"/>
                    <a:pt x="55" y="11"/>
                    <a:pt x="55" y="27"/>
                  </a:cubicBezTo>
                  <a:cubicBezTo>
                    <a:pt x="55" y="44"/>
                    <a:pt x="42" y="54"/>
                    <a:pt x="27" y="54"/>
                  </a:cubicBezTo>
                  <a:cubicBezTo>
                    <a:pt x="13" y="54"/>
                    <a:pt x="0" y="44"/>
                    <a:pt x="0" y="27"/>
                  </a:cubicBezTo>
                  <a:cubicBezTo>
                    <a:pt x="0" y="11"/>
                    <a:pt x="13" y="0"/>
                    <a:pt x="27" y="0"/>
                  </a:cubicBezTo>
                  <a:close/>
                  <a:moveTo>
                    <a:pt x="27" y="49"/>
                  </a:moveTo>
                  <a:cubicBezTo>
                    <a:pt x="39" y="49"/>
                    <a:pt x="48" y="40"/>
                    <a:pt x="48" y="27"/>
                  </a:cubicBezTo>
                  <a:cubicBezTo>
                    <a:pt x="48" y="15"/>
                    <a:pt x="39" y="6"/>
                    <a:pt x="27" y="6"/>
                  </a:cubicBezTo>
                  <a:cubicBezTo>
                    <a:pt x="16" y="6"/>
                    <a:pt x="7" y="15"/>
                    <a:pt x="7" y="27"/>
                  </a:cubicBezTo>
                  <a:cubicBezTo>
                    <a:pt x="7" y="40"/>
                    <a:pt x="16" y="49"/>
                    <a:pt x="27" y="49"/>
                  </a:cubicBezTo>
                  <a:close/>
                  <a:moveTo>
                    <a:pt x="17" y="12"/>
                  </a:moveTo>
                  <a:cubicBezTo>
                    <a:pt x="28" y="12"/>
                    <a:pt x="28" y="12"/>
                    <a:pt x="28" y="12"/>
                  </a:cubicBezTo>
                  <a:cubicBezTo>
                    <a:pt x="36" y="12"/>
                    <a:pt x="40" y="14"/>
                    <a:pt x="40" y="21"/>
                  </a:cubicBezTo>
                  <a:cubicBezTo>
                    <a:pt x="40" y="27"/>
                    <a:pt x="36" y="29"/>
                    <a:pt x="32" y="29"/>
                  </a:cubicBezTo>
                  <a:cubicBezTo>
                    <a:pt x="40" y="42"/>
                    <a:pt x="40" y="42"/>
                    <a:pt x="40" y="42"/>
                  </a:cubicBezTo>
                  <a:cubicBezTo>
                    <a:pt x="34" y="42"/>
                    <a:pt x="34" y="42"/>
                    <a:pt x="34" y="42"/>
                  </a:cubicBezTo>
                  <a:cubicBezTo>
                    <a:pt x="26" y="29"/>
                    <a:pt x="26" y="29"/>
                    <a:pt x="26" y="29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17" y="42"/>
                    <a:pt x="17" y="42"/>
                    <a:pt x="17" y="42"/>
                  </a:cubicBezTo>
                  <a:lnTo>
                    <a:pt x="17" y="12"/>
                  </a:lnTo>
                  <a:close/>
                  <a:moveTo>
                    <a:pt x="23" y="25"/>
                  </a:moveTo>
                  <a:cubicBezTo>
                    <a:pt x="28" y="25"/>
                    <a:pt x="28" y="25"/>
                    <a:pt x="28" y="25"/>
                  </a:cubicBezTo>
                  <a:cubicBezTo>
                    <a:pt x="31" y="25"/>
                    <a:pt x="34" y="24"/>
                    <a:pt x="34" y="20"/>
                  </a:cubicBezTo>
                  <a:cubicBezTo>
                    <a:pt x="34" y="17"/>
                    <a:pt x="30" y="17"/>
                    <a:pt x="28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2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44" name="Freeform 45"/>
          <p:cNvSpPr>
            <a:spLocks noChangeAspect="1" noEditPoints="1"/>
          </p:cNvSpPr>
          <p:nvPr userDrawn="1"/>
        </p:nvSpPr>
        <p:spPr bwMode="gray">
          <a:xfrm>
            <a:off x="11882928" y="6560221"/>
            <a:ext cx="62765" cy="61209"/>
          </a:xfrm>
          <a:custGeom>
            <a:avLst/>
            <a:gdLst>
              <a:gd name="T0" fmla="*/ 50 w 100"/>
              <a:gd name="T1" fmla="*/ 0 h 97"/>
              <a:gd name="T2" fmla="*/ 100 w 100"/>
              <a:gd name="T3" fmla="*/ 48 h 97"/>
              <a:gd name="T4" fmla="*/ 50 w 100"/>
              <a:gd name="T5" fmla="*/ 97 h 97"/>
              <a:gd name="T6" fmla="*/ 0 w 100"/>
              <a:gd name="T7" fmla="*/ 48 h 97"/>
              <a:gd name="T8" fmla="*/ 50 w 100"/>
              <a:gd name="T9" fmla="*/ 0 h 97"/>
              <a:gd name="T10" fmla="*/ 50 w 100"/>
              <a:gd name="T11" fmla="*/ 87 h 97"/>
              <a:gd name="T12" fmla="*/ 87 w 100"/>
              <a:gd name="T13" fmla="*/ 48 h 97"/>
              <a:gd name="T14" fmla="*/ 50 w 100"/>
              <a:gd name="T15" fmla="*/ 10 h 97"/>
              <a:gd name="T16" fmla="*/ 13 w 100"/>
              <a:gd name="T17" fmla="*/ 48 h 97"/>
              <a:gd name="T18" fmla="*/ 50 w 100"/>
              <a:gd name="T19" fmla="*/ 87 h 97"/>
              <a:gd name="T20" fmla="*/ 31 w 100"/>
              <a:gd name="T21" fmla="*/ 21 h 97"/>
              <a:gd name="T22" fmla="*/ 51 w 100"/>
              <a:gd name="T23" fmla="*/ 21 h 97"/>
              <a:gd name="T24" fmla="*/ 73 w 100"/>
              <a:gd name="T25" fmla="*/ 37 h 97"/>
              <a:gd name="T26" fmla="*/ 58 w 100"/>
              <a:gd name="T27" fmla="*/ 52 h 97"/>
              <a:gd name="T28" fmla="*/ 73 w 100"/>
              <a:gd name="T29" fmla="*/ 76 h 97"/>
              <a:gd name="T30" fmla="*/ 62 w 100"/>
              <a:gd name="T31" fmla="*/ 76 h 97"/>
              <a:gd name="T32" fmla="*/ 48 w 100"/>
              <a:gd name="T33" fmla="*/ 52 h 97"/>
              <a:gd name="T34" fmla="*/ 41 w 100"/>
              <a:gd name="T35" fmla="*/ 52 h 97"/>
              <a:gd name="T36" fmla="*/ 41 w 100"/>
              <a:gd name="T37" fmla="*/ 76 h 97"/>
              <a:gd name="T38" fmla="*/ 31 w 100"/>
              <a:gd name="T39" fmla="*/ 76 h 97"/>
              <a:gd name="T40" fmla="*/ 31 w 100"/>
              <a:gd name="T41" fmla="*/ 21 h 97"/>
              <a:gd name="T42" fmla="*/ 41 w 100"/>
              <a:gd name="T43" fmla="*/ 44 h 97"/>
              <a:gd name="T44" fmla="*/ 51 w 100"/>
              <a:gd name="T45" fmla="*/ 44 h 97"/>
              <a:gd name="T46" fmla="*/ 62 w 100"/>
              <a:gd name="T47" fmla="*/ 36 h 97"/>
              <a:gd name="T48" fmla="*/ 51 w 100"/>
              <a:gd name="T49" fmla="*/ 30 h 97"/>
              <a:gd name="T50" fmla="*/ 41 w 100"/>
              <a:gd name="T51" fmla="*/ 30 h 97"/>
              <a:gd name="T52" fmla="*/ 41 w 100"/>
              <a:gd name="T53" fmla="*/ 44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00" h="97">
                <a:moveTo>
                  <a:pt x="50" y="0"/>
                </a:moveTo>
                <a:cubicBezTo>
                  <a:pt x="76" y="0"/>
                  <a:pt x="100" y="19"/>
                  <a:pt x="100" y="48"/>
                </a:cubicBezTo>
                <a:cubicBezTo>
                  <a:pt x="100" y="78"/>
                  <a:pt x="76" y="97"/>
                  <a:pt x="50" y="97"/>
                </a:cubicBezTo>
                <a:cubicBezTo>
                  <a:pt x="24" y="97"/>
                  <a:pt x="0" y="78"/>
                  <a:pt x="0" y="48"/>
                </a:cubicBezTo>
                <a:cubicBezTo>
                  <a:pt x="0" y="19"/>
                  <a:pt x="24" y="0"/>
                  <a:pt x="50" y="0"/>
                </a:cubicBezTo>
                <a:close/>
                <a:moveTo>
                  <a:pt x="50" y="87"/>
                </a:moveTo>
                <a:cubicBezTo>
                  <a:pt x="70" y="87"/>
                  <a:pt x="87" y="71"/>
                  <a:pt x="87" y="48"/>
                </a:cubicBezTo>
                <a:cubicBezTo>
                  <a:pt x="87" y="26"/>
                  <a:pt x="70" y="10"/>
                  <a:pt x="50" y="10"/>
                </a:cubicBezTo>
                <a:cubicBezTo>
                  <a:pt x="30" y="10"/>
                  <a:pt x="13" y="26"/>
                  <a:pt x="13" y="48"/>
                </a:cubicBezTo>
                <a:cubicBezTo>
                  <a:pt x="13" y="71"/>
                  <a:pt x="30" y="87"/>
                  <a:pt x="50" y="87"/>
                </a:cubicBezTo>
                <a:close/>
                <a:moveTo>
                  <a:pt x="31" y="21"/>
                </a:moveTo>
                <a:cubicBezTo>
                  <a:pt x="51" y="21"/>
                  <a:pt x="51" y="21"/>
                  <a:pt x="51" y="21"/>
                </a:cubicBezTo>
                <a:cubicBezTo>
                  <a:pt x="65" y="21"/>
                  <a:pt x="73" y="25"/>
                  <a:pt x="73" y="37"/>
                </a:cubicBezTo>
                <a:cubicBezTo>
                  <a:pt x="73" y="47"/>
                  <a:pt x="66" y="51"/>
                  <a:pt x="58" y="52"/>
                </a:cubicBezTo>
                <a:cubicBezTo>
                  <a:pt x="73" y="76"/>
                  <a:pt x="73" y="76"/>
                  <a:pt x="73" y="76"/>
                </a:cubicBezTo>
                <a:cubicBezTo>
                  <a:pt x="62" y="76"/>
                  <a:pt x="62" y="76"/>
                  <a:pt x="62" y="76"/>
                </a:cubicBezTo>
                <a:cubicBezTo>
                  <a:pt x="48" y="52"/>
                  <a:pt x="48" y="52"/>
                  <a:pt x="48" y="52"/>
                </a:cubicBezTo>
                <a:cubicBezTo>
                  <a:pt x="41" y="52"/>
                  <a:pt x="41" y="52"/>
                  <a:pt x="41" y="52"/>
                </a:cubicBezTo>
                <a:cubicBezTo>
                  <a:pt x="41" y="76"/>
                  <a:pt x="41" y="76"/>
                  <a:pt x="41" y="76"/>
                </a:cubicBezTo>
                <a:cubicBezTo>
                  <a:pt x="31" y="76"/>
                  <a:pt x="31" y="76"/>
                  <a:pt x="31" y="76"/>
                </a:cubicBezTo>
                <a:lnTo>
                  <a:pt x="31" y="21"/>
                </a:lnTo>
                <a:close/>
                <a:moveTo>
                  <a:pt x="41" y="44"/>
                </a:moveTo>
                <a:cubicBezTo>
                  <a:pt x="51" y="44"/>
                  <a:pt x="51" y="44"/>
                  <a:pt x="51" y="44"/>
                </a:cubicBezTo>
                <a:cubicBezTo>
                  <a:pt x="57" y="44"/>
                  <a:pt x="62" y="43"/>
                  <a:pt x="62" y="36"/>
                </a:cubicBezTo>
                <a:cubicBezTo>
                  <a:pt x="62" y="30"/>
                  <a:pt x="56" y="30"/>
                  <a:pt x="51" y="30"/>
                </a:cubicBezTo>
                <a:cubicBezTo>
                  <a:pt x="41" y="30"/>
                  <a:pt x="41" y="30"/>
                  <a:pt x="41" y="30"/>
                </a:cubicBezTo>
                <a:lnTo>
                  <a:pt x="41" y="4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45" name="Rectangle 12"/>
          <p:cNvSpPr>
            <a:spLocks noChangeArrowheads="1"/>
          </p:cNvSpPr>
          <p:nvPr userDrawn="1"/>
        </p:nvSpPr>
        <p:spPr bwMode="gray">
          <a:xfrm>
            <a:off x="1" y="5079634"/>
            <a:ext cx="12192001" cy="11094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2" name="Segnaposto piè di pagina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assification: INTERNAL USE ONLY</a:t>
            </a:r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F53572C-12F5-47C0-A119-BE3602A66766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Grafik 5">
            <a:extLst>
              <a:ext uri="{FF2B5EF4-FFF2-40B4-BE49-F238E27FC236}">
                <a16:creationId xmlns:a16="http://schemas.microsoft.com/office/drawing/2014/main" id="{791B9A64-13DF-2C50-0A18-892427F43E3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0684" y="5251224"/>
            <a:ext cx="2902825" cy="685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26426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0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155816-EB3A-42CC-8EB6-2116CB7A6F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4800" y="1592263"/>
            <a:ext cx="5029200" cy="2503487"/>
          </a:xfrm>
        </p:spPr>
        <p:txBody>
          <a:bodyPr anchor="b" anchorCtr="0"/>
          <a:lstStyle>
            <a:lvl1pPr algn="l">
              <a:defRPr sz="4400"/>
            </a:lvl1pPr>
          </a:lstStyle>
          <a:p>
            <a:r>
              <a:rPr lang="ru-RU"/>
              <a:t>Образец заголовка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51F0510-29DA-413B-BAC3-98B769B38B6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4800" y="4208211"/>
            <a:ext cx="5029200" cy="891791"/>
          </a:xfrm>
        </p:spPr>
        <p:txBody>
          <a:bodyPr lIns="0" tIns="0" rIns="0" bIns="0"/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082E7E1-A232-40B7-9C0B-4B0C65E7DA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04800" y="5844101"/>
            <a:ext cx="2121408" cy="41148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/>
            </a:lvl1pPr>
          </a:lstStyle>
          <a:p>
            <a:r>
              <a:rPr lang="pl-PL"/>
              <a:t>Dat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E80F68-B7EB-4CFA-B511-76AC6EA500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4800" y="5436099"/>
            <a:ext cx="2121408" cy="411480"/>
          </a:xfrm>
          <a:ln>
            <a:solidFill>
              <a:schemeClr val="tx1"/>
            </a:solidFill>
          </a:ln>
        </p:spPr>
        <p:txBody>
          <a:bodyPr lIns="0" tIns="128016" rIns="0" bIns="0"/>
          <a:lstStyle>
            <a:lvl1pPr algn="l">
              <a:defRPr sz="1000"/>
            </a:lvl1pPr>
          </a:lstStyle>
          <a:p>
            <a:r>
              <a:rPr lang="en-GB" dirty="0"/>
              <a:t>Classification: INTERNAL USE ONLY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A22387D7-CE2A-8F15-D34A-56673FC3C92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800" y="228600"/>
            <a:ext cx="1788072" cy="532946"/>
          </a:xfrm>
          <a:prstGeom prst="rect">
            <a:avLst/>
          </a:prstGeom>
        </p:spPr>
      </p:pic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F2969447-42C1-9F03-2F90-B5D695764F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441902" y="798789"/>
            <a:ext cx="5330999" cy="5276193"/>
          </a:xfrm>
          <a:custGeom>
            <a:avLst/>
            <a:gdLst>
              <a:gd name="connsiteX0" fmla="*/ 4529963 w 5330999"/>
              <a:gd name="connsiteY0" fmla="*/ 550532 h 5276193"/>
              <a:gd name="connsiteX1" fmla="*/ 1050420 w 5330999"/>
              <a:gd name="connsiteY1" fmla="*/ 1915694 h 5276193"/>
              <a:gd name="connsiteX2" fmla="*/ 429947 w 5330999"/>
              <a:gd name="connsiteY2" fmla="*/ 3653385 h 5276193"/>
              <a:gd name="connsiteX3" fmla="*/ 537045 w 5330999"/>
              <a:gd name="connsiteY3" fmla="*/ 4621975 h 5276193"/>
              <a:gd name="connsiteX4" fmla="*/ 1401680 w 5330999"/>
              <a:gd name="connsiteY4" fmla="*/ 4524044 h 5276193"/>
              <a:gd name="connsiteX5" fmla="*/ 1471570 w 5330999"/>
              <a:gd name="connsiteY5" fmla="*/ 4524044 h 5276193"/>
              <a:gd name="connsiteX6" fmla="*/ 3379161 w 5330999"/>
              <a:gd name="connsiteY6" fmla="*/ 3903462 h 5276193"/>
              <a:gd name="connsiteX7" fmla="*/ 4021439 w 5330999"/>
              <a:gd name="connsiteY7" fmla="*/ 2289290 h 5276193"/>
              <a:gd name="connsiteX8" fmla="*/ 4529963 w 5330999"/>
              <a:gd name="connsiteY8" fmla="*/ 550532 h 5276193"/>
              <a:gd name="connsiteX9" fmla="*/ 5330999 w 5330999"/>
              <a:gd name="connsiteY9" fmla="*/ 0 h 5276193"/>
              <a:gd name="connsiteX10" fmla="*/ 5103792 w 5330999"/>
              <a:gd name="connsiteY10" fmla="*/ 385005 h 5276193"/>
              <a:gd name="connsiteX11" fmla="*/ 4443708 w 5330999"/>
              <a:gd name="connsiteY11" fmla="*/ 2370321 h 5276193"/>
              <a:gd name="connsiteX12" fmla="*/ 3683241 w 5330999"/>
              <a:gd name="connsiteY12" fmla="*/ 4207436 h 5276193"/>
              <a:gd name="connsiteX13" fmla="*/ 1471143 w 5330999"/>
              <a:gd name="connsiteY13" fmla="*/ 4953935 h 5276193"/>
              <a:gd name="connsiteX14" fmla="*/ 1401680 w 5330999"/>
              <a:gd name="connsiteY14" fmla="*/ 4953935 h 5276193"/>
              <a:gd name="connsiteX15" fmla="*/ 539284 w 5330999"/>
              <a:gd name="connsiteY15" fmla="*/ 5082306 h 5276193"/>
              <a:gd name="connsiteX16" fmla="*/ 325245 w 5330999"/>
              <a:gd name="connsiteY16" fmla="*/ 5236692 h 5276193"/>
              <a:gd name="connsiteX17" fmla="*/ 282810 w 5330999"/>
              <a:gd name="connsiteY17" fmla="*/ 5276193 h 5276193"/>
              <a:gd name="connsiteX18" fmla="*/ 190904 w 5330999"/>
              <a:gd name="connsiteY18" fmla="*/ 4984642 h 5276193"/>
              <a:gd name="connsiteX19" fmla="*/ 0 w 5330999"/>
              <a:gd name="connsiteY19" fmla="*/ 3653385 h 5276193"/>
              <a:gd name="connsiteX20" fmla="*/ 746553 w 5330999"/>
              <a:gd name="connsiteY20" fmla="*/ 1611507 h 5276193"/>
              <a:gd name="connsiteX21" fmla="*/ 4888314 w 5330999"/>
              <a:gd name="connsiteY21" fmla="*/ 62959 h 5276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5330999" h="5276193">
                <a:moveTo>
                  <a:pt x="4529963" y="550532"/>
                </a:moveTo>
                <a:cubicBezTo>
                  <a:pt x="2841369" y="816442"/>
                  <a:pt x="1702776" y="1263233"/>
                  <a:pt x="1050420" y="1915694"/>
                </a:cubicBezTo>
                <a:cubicBezTo>
                  <a:pt x="627086" y="2338281"/>
                  <a:pt x="429947" y="2890466"/>
                  <a:pt x="429947" y="3653385"/>
                </a:cubicBezTo>
                <a:cubicBezTo>
                  <a:pt x="429947" y="3990251"/>
                  <a:pt x="466943" y="4324185"/>
                  <a:pt x="537045" y="4621975"/>
                </a:cubicBezTo>
                <a:cubicBezTo>
                  <a:pt x="804928" y="4541369"/>
                  <a:pt x="1152189" y="4524044"/>
                  <a:pt x="1401680" y="4524044"/>
                </a:cubicBezTo>
                <a:lnTo>
                  <a:pt x="1471570" y="4524044"/>
                </a:lnTo>
                <a:cubicBezTo>
                  <a:pt x="2189708" y="4524844"/>
                  <a:pt x="2757940" y="4525376"/>
                  <a:pt x="3379161" y="3903462"/>
                </a:cubicBezTo>
                <a:cubicBezTo>
                  <a:pt x="3789754" y="3493242"/>
                  <a:pt x="3897121" y="2935300"/>
                  <a:pt x="4021439" y="2289290"/>
                </a:cubicBezTo>
                <a:cubicBezTo>
                  <a:pt x="4122355" y="1764667"/>
                  <a:pt x="4236278" y="1172553"/>
                  <a:pt x="4529963" y="550532"/>
                </a:cubicBezTo>
                <a:close/>
                <a:moveTo>
                  <a:pt x="5330999" y="0"/>
                </a:moveTo>
                <a:lnTo>
                  <a:pt x="5103792" y="385005"/>
                </a:lnTo>
                <a:cubicBezTo>
                  <a:pt x="4691226" y="1083952"/>
                  <a:pt x="4559711" y="1767332"/>
                  <a:pt x="4443708" y="2370321"/>
                </a:cubicBezTo>
                <a:cubicBezTo>
                  <a:pt x="4311712" y="3056207"/>
                  <a:pt x="4187073" y="3704030"/>
                  <a:pt x="3683241" y="4207436"/>
                </a:cubicBezTo>
                <a:cubicBezTo>
                  <a:pt x="2935568" y="4955855"/>
                  <a:pt x="2224040" y="4954948"/>
                  <a:pt x="1471143" y="4953935"/>
                </a:cubicBezTo>
                <a:lnTo>
                  <a:pt x="1401680" y="4953935"/>
                </a:lnTo>
                <a:cubicBezTo>
                  <a:pt x="993539" y="4953935"/>
                  <a:pt x="687220" y="4999515"/>
                  <a:pt x="539284" y="5082306"/>
                </a:cubicBezTo>
                <a:cubicBezTo>
                  <a:pt x="420083" y="5148943"/>
                  <a:pt x="326204" y="5235838"/>
                  <a:pt x="325245" y="5236692"/>
                </a:cubicBezTo>
                <a:lnTo>
                  <a:pt x="282810" y="5276193"/>
                </a:lnTo>
                <a:lnTo>
                  <a:pt x="190904" y="4984642"/>
                </a:lnTo>
                <a:cubicBezTo>
                  <a:pt x="65999" y="4588336"/>
                  <a:pt x="0" y="4128004"/>
                  <a:pt x="0" y="3653385"/>
                </a:cubicBezTo>
                <a:cubicBezTo>
                  <a:pt x="0" y="2768813"/>
                  <a:pt x="237230" y="2119978"/>
                  <a:pt x="746553" y="1611507"/>
                </a:cubicBezTo>
                <a:cubicBezTo>
                  <a:pt x="1732043" y="625913"/>
                  <a:pt x="3393288" y="275612"/>
                  <a:pt x="4888314" y="62959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0254195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4610F65C-60D7-4538-BE39-7D73717C8F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69"/>
            <a:ext cx="12192000" cy="6854861"/>
          </a:xfrm>
          <a:prstGeom prst="rect">
            <a:avLst/>
          </a:prstGeom>
        </p:spPr>
      </p:pic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9D584174-5E54-45C1-AB01-B24DBFD5D11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GB"/>
              <a:t>Classification: INTERNAL USE ONLY</a:t>
            </a:r>
            <a:endParaRPr lang="en-GB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FE348B55-8DAA-425B-BC9F-AB12EC9ED54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95D00A-BA34-4D39-8C84-2534822D6434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0BC805C-1621-419F-855F-D8DD293F708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04616" y="5923202"/>
            <a:ext cx="1521190" cy="428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038337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155816-EB3A-42CC-8EB6-2116CB7A6F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4800" y="1592263"/>
            <a:ext cx="5029200" cy="2503487"/>
          </a:xfrm>
        </p:spPr>
        <p:txBody>
          <a:bodyPr anchor="b" anchorCtr="0"/>
          <a:lstStyle>
            <a:lvl1pPr algn="l">
              <a:defRPr sz="4400"/>
            </a:lvl1pPr>
          </a:lstStyle>
          <a:p>
            <a:r>
              <a:rPr lang="ru-RU"/>
              <a:t>Образец заголовка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51F0510-29DA-413B-BAC3-98B769B38B6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4800" y="4208211"/>
            <a:ext cx="5029200" cy="891791"/>
          </a:xfrm>
        </p:spPr>
        <p:txBody>
          <a:bodyPr lIns="0" tIns="0" rIns="0" bIns="0"/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082E7E1-A232-40B7-9C0B-4B0C65E7DA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04800" y="5844101"/>
            <a:ext cx="2121408" cy="41148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/>
            </a:lvl1pPr>
          </a:lstStyle>
          <a:p>
            <a:r>
              <a:rPr lang="pl-PL"/>
              <a:t>Dat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E80F68-B7EB-4CFA-B511-76AC6EA500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4800" y="5436099"/>
            <a:ext cx="2121408" cy="411480"/>
          </a:xfrm>
          <a:ln>
            <a:solidFill>
              <a:schemeClr val="tx1"/>
            </a:solidFill>
          </a:ln>
        </p:spPr>
        <p:txBody>
          <a:bodyPr lIns="0" tIns="128016" rIns="0" bIns="0"/>
          <a:lstStyle>
            <a:lvl1pPr algn="l">
              <a:defRPr sz="1000"/>
            </a:lvl1pPr>
          </a:lstStyle>
          <a:p>
            <a:r>
              <a:rPr lang="en-GB"/>
              <a:t>Classification: INTERNAL USE ONLY</a:t>
            </a:r>
            <a:endParaRPr lang="en-GB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A22387D7-CE2A-8F15-D34A-56673FC3C92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800" y="228600"/>
            <a:ext cx="1788072" cy="532946"/>
          </a:xfrm>
          <a:prstGeom prst="rect">
            <a:avLst/>
          </a:prstGeom>
        </p:spPr>
      </p:pic>
      <p:pic>
        <p:nvPicPr>
          <p:cNvPr id="15" name="Picture Placeholder 13">
            <a:extLst>
              <a:ext uri="{FF2B5EF4-FFF2-40B4-BE49-F238E27FC236}">
                <a16:creationId xmlns:a16="http://schemas.microsoft.com/office/drawing/2014/main" id="{7CC70386-D2CA-051C-3592-D35CDDE6B72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42923" y="798789"/>
            <a:ext cx="5328954" cy="5276193"/>
          </a:xfrm>
          <a:custGeom>
            <a:avLst/>
            <a:gdLst>
              <a:gd name="connsiteX0" fmla="*/ 4529962 w 5330998"/>
              <a:gd name="connsiteY0" fmla="*/ 550532 h 5276193"/>
              <a:gd name="connsiteX1" fmla="*/ 1050419 w 5330998"/>
              <a:gd name="connsiteY1" fmla="*/ 1915694 h 5276193"/>
              <a:gd name="connsiteX2" fmla="*/ 429946 w 5330998"/>
              <a:gd name="connsiteY2" fmla="*/ 3653385 h 5276193"/>
              <a:gd name="connsiteX3" fmla="*/ 537044 w 5330998"/>
              <a:gd name="connsiteY3" fmla="*/ 4621975 h 5276193"/>
              <a:gd name="connsiteX4" fmla="*/ 1401679 w 5330998"/>
              <a:gd name="connsiteY4" fmla="*/ 4524044 h 5276193"/>
              <a:gd name="connsiteX5" fmla="*/ 1471569 w 5330998"/>
              <a:gd name="connsiteY5" fmla="*/ 4524044 h 5276193"/>
              <a:gd name="connsiteX6" fmla="*/ 3379160 w 5330998"/>
              <a:gd name="connsiteY6" fmla="*/ 3903462 h 5276193"/>
              <a:gd name="connsiteX7" fmla="*/ 4021438 w 5330998"/>
              <a:gd name="connsiteY7" fmla="*/ 2289290 h 5276193"/>
              <a:gd name="connsiteX8" fmla="*/ 4529962 w 5330998"/>
              <a:gd name="connsiteY8" fmla="*/ 550532 h 5276193"/>
              <a:gd name="connsiteX9" fmla="*/ 5330998 w 5330998"/>
              <a:gd name="connsiteY9" fmla="*/ 0 h 5276193"/>
              <a:gd name="connsiteX10" fmla="*/ 5103791 w 5330998"/>
              <a:gd name="connsiteY10" fmla="*/ 385005 h 5276193"/>
              <a:gd name="connsiteX11" fmla="*/ 4443707 w 5330998"/>
              <a:gd name="connsiteY11" fmla="*/ 2370321 h 5276193"/>
              <a:gd name="connsiteX12" fmla="*/ 3683240 w 5330998"/>
              <a:gd name="connsiteY12" fmla="*/ 4207436 h 5276193"/>
              <a:gd name="connsiteX13" fmla="*/ 1471143 w 5330998"/>
              <a:gd name="connsiteY13" fmla="*/ 4953935 h 5276193"/>
              <a:gd name="connsiteX14" fmla="*/ 1401679 w 5330998"/>
              <a:gd name="connsiteY14" fmla="*/ 4953935 h 5276193"/>
              <a:gd name="connsiteX15" fmla="*/ 539284 w 5330998"/>
              <a:gd name="connsiteY15" fmla="*/ 5082306 h 5276193"/>
              <a:gd name="connsiteX16" fmla="*/ 325245 w 5330998"/>
              <a:gd name="connsiteY16" fmla="*/ 5236692 h 5276193"/>
              <a:gd name="connsiteX17" fmla="*/ 282809 w 5330998"/>
              <a:gd name="connsiteY17" fmla="*/ 5276193 h 5276193"/>
              <a:gd name="connsiteX18" fmla="*/ 190903 w 5330998"/>
              <a:gd name="connsiteY18" fmla="*/ 4984642 h 5276193"/>
              <a:gd name="connsiteX19" fmla="*/ 0 w 5330998"/>
              <a:gd name="connsiteY19" fmla="*/ 3653385 h 5276193"/>
              <a:gd name="connsiteX20" fmla="*/ 746552 w 5330998"/>
              <a:gd name="connsiteY20" fmla="*/ 1611507 h 5276193"/>
              <a:gd name="connsiteX21" fmla="*/ 4888313 w 5330998"/>
              <a:gd name="connsiteY21" fmla="*/ 62959 h 5276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5330998" h="5276193">
                <a:moveTo>
                  <a:pt x="4529962" y="550532"/>
                </a:moveTo>
                <a:cubicBezTo>
                  <a:pt x="2841368" y="816442"/>
                  <a:pt x="1702775" y="1263233"/>
                  <a:pt x="1050419" y="1915694"/>
                </a:cubicBezTo>
                <a:cubicBezTo>
                  <a:pt x="627085" y="2338281"/>
                  <a:pt x="429946" y="2890466"/>
                  <a:pt x="429946" y="3653385"/>
                </a:cubicBezTo>
                <a:cubicBezTo>
                  <a:pt x="429946" y="3990251"/>
                  <a:pt x="466943" y="4324185"/>
                  <a:pt x="537044" y="4621975"/>
                </a:cubicBezTo>
                <a:cubicBezTo>
                  <a:pt x="804928" y="4541369"/>
                  <a:pt x="1152188" y="4524044"/>
                  <a:pt x="1401679" y="4524044"/>
                </a:cubicBezTo>
                <a:lnTo>
                  <a:pt x="1471569" y="4524044"/>
                </a:lnTo>
                <a:cubicBezTo>
                  <a:pt x="2189707" y="4524844"/>
                  <a:pt x="2757939" y="4525376"/>
                  <a:pt x="3379160" y="3903462"/>
                </a:cubicBezTo>
                <a:cubicBezTo>
                  <a:pt x="3789753" y="3493242"/>
                  <a:pt x="3897120" y="2935300"/>
                  <a:pt x="4021438" y="2289290"/>
                </a:cubicBezTo>
                <a:cubicBezTo>
                  <a:pt x="4122354" y="1764667"/>
                  <a:pt x="4236277" y="1172553"/>
                  <a:pt x="4529962" y="550532"/>
                </a:cubicBezTo>
                <a:close/>
                <a:moveTo>
                  <a:pt x="5330998" y="0"/>
                </a:moveTo>
                <a:lnTo>
                  <a:pt x="5103791" y="385005"/>
                </a:lnTo>
                <a:cubicBezTo>
                  <a:pt x="4691225" y="1083952"/>
                  <a:pt x="4559710" y="1767332"/>
                  <a:pt x="4443707" y="2370321"/>
                </a:cubicBezTo>
                <a:cubicBezTo>
                  <a:pt x="4311711" y="3056207"/>
                  <a:pt x="4187072" y="3704030"/>
                  <a:pt x="3683240" y="4207436"/>
                </a:cubicBezTo>
                <a:cubicBezTo>
                  <a:pt x="2935567" y="4955855"/>
                  <a:pt x="2224039" y="4954948"/>
                  <a:pt x="1471143" y="4953935"/>
                </a:cubicBezTo>
                <a:lnTo>
                  <a:pt x="1401679" y="4953935"/>
                </a:lnTo>
                <a:cubicBezTo>
                  <a:pt x="993538" y="4953935"/>
                  <a:pt x="687219" y="4999515"/>
                  <a:pt x="539284" y="5082306"/>
                </a:cubicBezTo>
                <a:cubicBezTo>
                  <a:pt x="420083" y="5148943"/>
                  <a:pt x="326203" y="5235838"/>
                  <a:pt x="325245" y="5236692"/>
                </a:cubicBezTo>
                <a:lnTo>
                  <a:pt x="282809" y="5276193"/>
                </a:lnTo>
                <a:lnTo>
                  <a:pt x="190903" y="4984642"/>
                </a:lnTo>
                <a:cubicBezTo>
                  <a:pt x="65999" y="4588336"/>
                  <a:pt x="0" y="4128004"/>
                  <a:pt x="0" y="3653385"/>
                </a:cubicBezTo>
                <a:cubicBezTo>
                  <a:pt x="0" y="2768813"/>
                  <a:pt x="237229" y="2119978"/>
                  <a:pt x="746552" y="1611507"/>
                </a:cubicBezTo>
                <a:cubicBezTo>
                  <a:pt x="1732042" y="625913"/>
                  <a:pt x="3393287" y="275612"/>
                  <a:pt x="4888313" y="62959"/>
                </a:cubicBezTo>
                <a:close/>
              </a:path>
            </a:pathLst>
          </a:custGeom>
          <a:pattFill prst="ltVert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</p:pic>
    </p:spTree>
    <p:extLst>
      <p:ext uri="{BB962C8B-B14F-4D97-AF65-F5344CB8AC3E}">
        <p14:creationId xmlns:p14="http://schemas.microsoft.com/office/powerpoint/2010/main" val="2718322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3_Agenda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08F89D-1E17-4736-A2DE-3A958C13FF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1374113"/>
            <a:ext cx="11582400" cy="777240"/>
          </a:xfrm>
        </p:spPr>
        <p:txBody>
          <a:bodyPr anchor="b"/>
          <a:lstStyle>
            <a:lvl1pPr>
              <a:defRPr sz="4000"/>
            </a:lvl1pPr>
          </a:lstStyle>
          <a:p>
            <a:r>
              <a:rPr lang="en-US" dirty="0"/>
              <a:t>Agenda Title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D1DD80A-9C32-4615-A774-BE188EE35B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128016" rIns="0" bIns="0"/>
          <a:lstStyle/>
          <a:p>
            <a:pPr algn="r"/>
            <a:r>
              <a:rPr lang="en-GB" dirty="0"/>
              <a:t>Classification: INTERNAL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C7992EC-D8F9-405E-835D-AFE6C47819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7695D00A-BA34-4D39-8C84-2534822D643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956791E-6906-4DFF-9C42-39BB0269649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2527300"/>
            <a:ext cx="11582400" cy="3721100"/>
          </a:xfrm>
        </p:spPr>
        <p:txBody>
          <a:bodyPr numCol="2" spcCol="914400"/>
          <a:lstStyle>
            <a:lvl1pPr marL="292608" indent="-292608">
              <a:buClr>
                <a:schemeClr val="tx2"/>
              </a:buClr>
              <a:buFont typeface="+mj-lt"/>
              <a:buAutoNum type="arabicPeriod"/>
              <a:defRPr sz="1800"/>
            </a:lvl1pPr>
            <a:lvl2pPr marL="574675" indent="-292608">
              <a:buSzPct val="80000"/>
              <a:buFont typeface="Arial" panose="020B0604020202020204" pitchFamily="34" charset="0"/>
              <a:buChar char="●"/>
              <a:defRPr sz="1800"/>
            </a:lvl2pPr>
            <a:lvl3pPr marL="868680" indent="-292608">
              <a:buFont typeface="Courier New" panose="02070309020205020404" pitchFamily="49" charset="0"/>
              <a:buChar char="-"/>
              <a:defRPr sz="1800"/>
            </a:lvl3pPr>
            <a:lvl4pPr marL="1152144" indent="-292608">
              <a:buFont typeface="Arial" panose="020B0604020202020204" pitchFamily="34" charset="0"/>
              <a:buChar char="•"/>
              <a:defRPr sz="1800"/>
            </a:lvl4pPr>
            <a:lvl5pPr marL="1444752" indent="-292608">
              <a:buFont typeface="Courier New" panose="02070309020205020404" pitchFamily="49" charset="0"/>
              <a:buChar char="-"/>
              <a:defRPr sz="18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 dirty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F59D62A2-A9E2-2751-DDC2-01E57B4C26A8}"/>
              </a:ext>
            </a:extLst>
          </p:cNvPr>
          <p:cNvSpPr/>
          <p:nvPr/>
        </p:nvSpPr>
        <p:spPr>
          <a:xfrm>
            <a:off x="6065264" y="609601"/>
            <a:ext cx="5707636" cy="5648958"/>
          </a:xfrm>
          <a:custGeom>
            <a:avLst/>
            <a:gdLst>
              <a:gd name="connsiteX0" fmla="*/ 3768352 w 4434712"/>
              <a:gd name="connsiteY0" fmla="*/ 457973 h 4389120"/>
              <a:gd name="connsiteX1" fmla="*/ 873816 w 4434712"/>
              <a:gd name="connsiteY1" fmla="*/ 1593614 h 4389120"/>
              <a:gd name="connsiteX2" fmla="*/ 357660 w 4434712"/>
              <a:gd name="connsiteY2" fmla="*/ 3039151 h 4389120"/>
              <a:gd name="connsiteX3" fmla="*/ 446752 w 4434712"/>
              <a:gd name="connsiteY3" fmla="*/ 3844894 h 4389120"/>
              <a:gd name="connsiteX4" fmla="*/ 1166019 w 4434712"/>
              <a:gd name="connsiteY4" fmla="*/ 3763428 h 4389120"/>
              <a:gd name="connsiteX5" fmla="*/ 1224159 w 4434712"/>
              <a:gd name="connsiteY5" fmla="*/ 3763428 h 4389120"/>
              <a:gd name="connsiteX6" fmla="*/ 2811032 w 4434712"/>
              <a:gd name="connsiteY6" fmla="*/ 3247183 h 4389120"/>
              <a:gd name="connsiteX7" fmla="*/ 3345325 w 4434712"/>
              <a:gd name="connsiteY7" fmla="*/ 1904398 h 4389120"/>
              <a:gd name="connsiteX8" fmla="*/ 3768352 w 4434712"/>
              <a:gd name="connsiteY8" fmla="*/ 457973 h 4389120"/>
              <a:gd name="connsiteX9" fmla="*/ 4434712 w 4434712"/>
              <a:gd name="connsiteY9" fmla="*/ 0 h 4389120"/>
              <a:gd name="connsiteX10" fmla="*/ 4245705 w 4434712"/>
              <a:gd name="connsiteY10" fmla="*/ 320275 h 4389120"/>
              <a:gd name="connsiteX11" fmla="*/ 3696599 w 4434712"/>
              <a:gd name="connsiteY11" fmla="*/ 1971805 h 4389120"/>
              <a:gd name="connsiteX12" fmla="*/ 3063988 w 4434712"/>
              <a:gd name="connsiteY12" fmla="*/ 3500051 h 4389120"/>
              <a:gd name="connsiteX13" fmla="*/ 1223804 w 4434712"/>
              <a:gd name="connsiteY13" fmla="*/ 4121043 h 4389120"/>
              <a:gd name="connsiteX14" fmla="*/ 1166019 w 4434712"/>
              <a:gd name="connsiteY14" fmla="*/ 4121043 h 4389120"/>
              <a:gd name="connsiteX15" fmla="*/ 448616 w 4434712"/>
              <a:gd name="connsiteY15" fmla="*/ 4227831 h 4389120"/>
              <a:gd name="connsiteX16" fmla="*/ 270563 w 4434712"/>
              <a:gd name="connsiteY16" fmla="*/ 4356261 h 4389120"/>
              <a:gd name="connsiteX17" fmla="*/ 235262 w 4434712"/>
              <a:gd name="connsiteY17" fmla="*/ 4389120 h 4389120"/>
              <a:gd name="connsiteX18" fmla="*/ 158808 w 4434712"/>
              <a:gd name="connsiteY18" fmla="*/ 4146587 h 4389120"/>
              <a:gd name="connsiteX19" fmla="*/ 0 w 4434712"/>
              <a:gd name="connsiteY19" fmla="*/ 3039151 h 4389120"/>
              <a:gd name="connsiteX20" fmla="*/ 621037 w 4434712"/>
              <a:gd name="connsiteY20" fmla="*/ 1340569 h 4389120"/>
              <a:gd name="connsiteX21" fmla="*/ 4066455 w 4434712"/>
              <a:gd name="connsiteY21" fmla="*/ 52374 h 4389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4434712" h="4389120">
                <a:moveTo>
                  <a:pt x="3768352" y="457973"/>
                </a:moveTo>
                <a:cubicBezTo>
                  <a:pt x="2363657" y="679176"/>
                  <a:pt x="1416492" y="1050849"/>
                  <a:pt x="873816" y="1593614"/>
                </a:cubicBezTo>
                <a:cubicBezTo>
                  <a:pt x="521656" y="1945152"/>
                  <a:pt x="357660" y="2404499"/>
                  <a:pt x="357660" y="3039151"/>
                </a:cubicBezTo>
                <a:cubicBezTo>
                  <a:pt x="357660" y="3319381"/>
                  <a:pt x="388437" y="3597171"/>
                  <a:pt x="446752" y="3844894"/>
                </a:cubicBezTo>
                <a:cubicBezTo>
                  <a:pt x="669598" y="3777840"/>
                  <a:pt x="958474" y="3763428"/>
                  <a:pt x="1166019" y="3763428"/>
                </a:cubicBezTo>
                <a:lnTo>
                  <a:pt x="1224159" y="3763428"/>
                </a:lnTo>
                <a:cubicBezTo>
                  <a:pt x="1821558" y="3764094"/>
                  <a:pt x="2294255" y="3764536"/>
                  <a:pt x="2811032" y="3247183"/>
                </a:cubicBezTo>
                <a:cubicBezTo>
                  <a:pt x="3152592" y="2905932"/>
                  <a:pt x="3241908" y="2441795"/>
                  <a:pt x="3345325" y="1904398"/>
                </a:cubicBezTo>
                <a:cubicBezTo>
                  <a:pt x="3429275" y="1467978"/>
                  <a:pt x="3524043" y="975415"/>
                  <a:pt x="3768352" y="457973"/>
                </a:cubicBezTo>
                <a:close/>
                <a:moveTo>
                  <a:pt x="4434712" y="0"/>
                </a:moveTo>
                <a:lnTo>
                  <a:pt x="4245705" y="320275"/>
                </a:lnTo>
                <a:cubicBezTo>
                  <a:pt x="3902502" y="901710"/>
                  <a:pt x="3793099" y="1470196"/>
                  <a:pt x="3696599" y="1971805"/>
                </a:cubicBezTo>
                <a:cubicBezTo>
                  <a:pt x="3586795" y="2542375"/>
                  <a:pt x="3483111" y="3081281"/>
                  <a:pt x="3063988" y="3500051"/>
                </a:cubicBezTo>
                <a:cubicBezTo>
                  <a:pt x="2442019" y="4122640"/>
                  <a:pt x="1850118" y="4121886"/>
                  <a:pt x="1223804" y="4121043"/>
                </a:cubicBezTo>
                <a:lnTo>
                  <a:pt x="1166019" y="4121043"/>
                </a:lnTo>
                <a:cubicBezTo>
                  <a:pt x="826498" y="4121043"/>
                  <a:pt x="571680" y="4158959"/>
                  <a:pt x="448616" y="4227831"/>
                </a:cubicBezTo>
                <a:cubicBezTo>
                  <a:pt x="349456" y="4283265"/>
                  <a:pt x="271360" y="4355550"/>
                  <a:pt x="270563" y="4356261"/>
                </a:cubicBezTo>
                <a:lnTo>
                  <a:pt x="235262" y="4389120"/>
                </a:lnTo>
                <a:lnTo>
                  <a:pt x="158808" y="4146587"/>
                </a:lnTo>
                <a:cubicBezTo>
                  <a:pt x="54903" y="3816911"/>
                  <a:pt x="0" y="3433973"/>
                  <a:pt x="0" y="3039151"/>
                </a:cubicBezTo>
                <a:cubicBezTo>
                  <a:pt x="0" y="2303300"/>
                  <a:pt x="197345" y="1763552"/>
                  <a:pt x="621037" y="1340569"/>
                </a:cubicBezTo>
                <a:cubicBezTo>
                  <a:pt x="1440839" y="520680"/>
                  <a:pt x="2822784" y="229274"/>
                  <a:pt x="4066455" y="52374"/>
                </a:cubicBezTo>
                <a:close/>
              </a:path>
            </a:pathLst>
          </a:custGeom>
          <a:gradFill>
            <a:gsLst>
              <a:gs pos="19000">
                <a:schemeClr val="bg1"/>
              </a:gs>
              <a:gs pos="90000">
                <a:schemeClr val="bg1">
                  <a:alpha val="7000"/>
                </a:scheme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123647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Divider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E24406A-33A1-4B99-82CD-083813AA5B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ln>
            <a:solidFill>
              <a:schemeClr val="tx1"/>
            </a:solidFill>
          </a:ln>
        </p:spPr>
        <p:txBody>
          <a:bodyPr lIns="0" tIns="128016" rIns="0" bIns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GB"/>
              <a:t>Classification: INTERNAL USE ONLY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5E1AFC2-177E-4F8B-B396-B22824D35B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695D00A-BA34-4D39-8C84-2534822D643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7249B4-7789-44E0-AFE4-476C83B114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2958298"/>
            <a:ext cx="4160518" cy="3290102"/>
          </a:xfrm>
        </p:spPr>
        <p:txBody>
          <a:bodyPr anchor="t"/>
          <a:lstStyle>
            <a:lvl1pPr>
              <a:defRPr sz="4400" b="0"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Divider Title</a:t>
            </a:r>
            <a:endParaRPr lang="en-GB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5E7C070F-FE6E-FEC6-05D3-ED9AF746A76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798" y="2803454"/>
            <a:ext cx="4160520" cy="145390"/>
          </a:xfrm>
          <a:custGeom>
            <a:avLst/>
            <a:gdLst>
              <a:gd name="connsiteX0" fmla="*/ 0 w 2728912"/>
              <a:gd name="connsiteY0" fmla="*/ 0 h 768350"/>
              <a:gd name="connsiteX1" fmla="*/ 2728912 w 2728912"/>
              <a:gd name="connsiteY1" fmla="*/ 0 h 768350"/>
              <a:gd name="connsiteX2" fmla="*/ 2728912 w 2728912"/>
              <a:gd name="connsiteY2" fmla="*/ 768350 h 768350"/>
              <a:gd name="connsiteX3" fmla="*/ 0 w 2728912"/>
              <a:gd name="connsiteY3" fmla="*/ 768350 h 768350"/>
              <a:gd name="connsiteX4" fmla="*/ 0 w 2728912"/>
              <a:gd name="connsiteY4" fmla="*/ 0 h 768350"/>
              <a:gd name="connsiteX0" fmla="*/ 0 w 2728912"/>
              <a:gd name="connsiteY0" fmla="*/ 0 h 768350"/>
              <a:gd name="connsiteX1" fmla="*/ 2728912 w 2728912"/>
              <a:gd name="connsiteY1" fmla="*/ 0 h 768350"/>
              <a:gd name="connsiteX2" fmla="*/ 2728912 w 2728912"/>
              <a:gd name="connsiteY2" fmla="*/ 768350 h 768350"/>
              <a:gd name="connsiteX3" fmla="*/ 0 w 2728912"/>
              <a:gd name="connsiteY3" fmla="*/ 0 h 768350"/>
              <a:gd name="connsiteX0" fmla="*/ 0 w 2728912"/>
              <a:gd name="connsiteY0" fmla="*/ 0 h 0"/>
              <a:gd name="connsiteX1" fmla="*/ 2728912 w 2728912"/>
              <a:gd name="connsiteY1" fmla="*/ 0 h 0"/>
              <a:gd name="connsiteX2" fmla="*/ 0 w 2728912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28912">
                <a:moveTo>
                  <a:pt x="0" y="0"/>
                </a:moveTo>
                <a:lnTo>
                  <a:pt x="2728912" y="0"/>
                </a:lnTo>
                <a:lnTo>
                  <a:pt x="0" y="0"/>
                </a:lnTo>
                <a:close/>
              </a:path>
            </a:pathLst>
          </a:custGeom>
          <a:ln w="6350">
            <a:solidFill>
              <a:schemeClr val="accent4"/>
            </a:solidFill>
          </a:ln>
        </p:spPr>
        <p:txBody>
          <a:bodyPr/>
          <a:lstStyle>
            <a:lvl1pPr>
              <a:defRPr sz="1200">
                <a:noFill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3E316316-838D-89D3-5646-DBF4384FA8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04798" y="2418080"/>
            <a:ext cx="4160838" cy="375920"/>
          </a:xfrm>
        </p:spPr>
        <p:txBody>
          <a:bodyPr/>
          <a:lstStyle>
            <a:lvl1pPr marL="0" indent="0">
              <a:buNone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Chapter 1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454E13E1-54EB-BD4C-E4ED-61EEAB4BB014}"/>
              </a:ext>
            </a:extLst>
          </p:cNvPr>
          <p:cNvSpPr/>
          <p:nvPr userDrawn="1"/>
        </p:nvSpPr>
        <p:spPr>
          <a:xfrm>
            <a:off x="6779324" y="1239520"/>
            <a:ext cx="4434712" cy="4389120"/>
          </a:xfrm>
          <a:custGeom>
            <a:avLst/>
            <a:gdLst>
              <a:gd name="connsiteX0" fmla="*/ 3768352 w 4434712"/>
              <a:gd name="connsiteY0" fmla="*/ 457973 h 4389120"/>
              <a:gd name="connsiteX1" fmla="*/ 873816 w 4434712"/>
              <a:gd name="connsiteY1" fmla="*/ 1593614 h 4389120"/>
              <a:gd name="connsiteX2" fmla="*/ 357660 w 4434712"/>
              <a:gd name="connsiteY2" fmla="*/ 3039151 h 4389120"/>
              <a:gd name="connsiteX3" fmla="*/ 446752 w 4434712"/>
              <a:gd name="connsiteY3" fmla="*/ 3844894 h 4389120"/>
              <a:gd name="connsiteX4" fmla="*/ 1166019 w 4434712"/>
              <a:gd name="connsiteY4" fmla="*/ 3763428 h 4389120"/>
              <a:gd name="connsiteX5" fmla="*/ 1224159 w 4434712"/>
              <a:gd name="connsiteY5" fmla="*/ 3763428 h 4389120"/>
              <a:gd name="connsiteX6" fmla="*/ 2811032 w 4434712"/>
              <a:gd name="connsiteY6" fmla="*/ 3247183 h 4389120"/>
              <a:gd name="connsiteX7" fmla="*/ 3345325 w 4434712"/>
              <a:gd name="connsiteY7" fmla="*/ 1904398 h 4389120"/>
              <a:gd name="connsiteX8" fmla="*/ 3768352 w 4434712"/>
              <a:gd name="connsiteY8" fmla="*/ 457973 h 4389120"/>
              <a:gd name="connsiteX9" fmla="*/ 4434712 w 4434712"/>
              <a:gd name="connsiteY9" fmla="*/ 0 h 4389120"/>
              <a:gd name="connsiteX10" fmla="*/ 4245705 w 4434712"/>
              <a:gd name="connsiteY10" fmla="*/ 320275 h 4389120"/>
              <a:gd name="connsiteX11" fmla="*/ 3696599 w 4434712"/>
              <a:gd name="connsiteY11" fmla="*/ 1971805 h 4389120"/>
              <a:gd name="connsiteX12" fmla="*/ 3063988 w 4434712"/>
              <a:gd name="connsiteY12" fmla="*/ 3500051 h 4389120"/>
              <a:gd name="connsiteX13" fmla="*/ 1223804 w 4434712"/>
              <a:gd name="connsiteY13" fmla="*/ 4121043 h 4389120"/>
              <a:gd name="connsiteX14" fmla="*/ 1166019 w 4434712"/>
              <a:gd name="connsiteY14" fmla="*/ 4121043 h 4389120"/>
              <a:gd name="connsiteX15" fmla="*/ 448616 w 4434712"/>
              <a:gd name="connsiteY15" fmla="*/ 4227831 h 4389120"/>
              <a:gd name="connsiteX16" fmla="*/ 270563 w 4434712"/>
              <a:gd name="connsiteY16" fmla="*/ 4356261 h 4389120"/>
              <a:gd name="connsiteX17" fmla="*/ 235262 w 4434712"/>
              <a:gd name="connsiteY17" fmla="*/ 4389120 h 4389120"/>
              <a:gd name="connsiteX18" fmla="*/ 158808 w 4434712"/>
              <a:gd name="connsiteY18" fmla="*/ 4146587 h 4389120"/>
              <a:gd name="connsiteX19" fmla="*/ 0 w 4434712"/>
              <a:gd name="connsiteY19" fmla="*/ 3039151 h 4389120"/>
              <a:gd name="connsiteX20" fmla="*/ 621037 w 4434712"/>
              <a:gd name="connsiteY20" fmla="*/ 1340569 h 4389120"/>
              <a:gd name="connsiteX21" fmla="*/ 4066455 w 4434712"/>
              <a:gd name="connsiteY21" fmla="*/ 52374 h 4389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4434712" h="4389120">
                <a:moveTo>
                  <a:pt x="3768352" y="457973"/>
                </a:moveTo>
                <a:cubicBezTo>
                  <a:pt x="2363657" y="679176"/>
                  <a:pt x="1416492" y="1050849"/>
                  <a:pt x="873816" y="1593614"/>
                </a:cubicBezTo>
                <a:cubicBezTo>
                  <a:pt x="521656" y="1945152"/>
                  <a:pt x="357660" y="2404499"/>
                  <a:pt x="357660" y="3039151"/>
                </a:cubicBezTo>
                <a:cubicBezTo>
                  <a:pt x="357660" y="3319381"/>
                  <a:pt x="388437" y="3597171"/>
                  <a:pt x="446752" y="3844894"/>
                </a:cubicBezTo>
                <a:cubicBezTo>
                  <a:pt x="669598" y="3777840"/>
                  <a:pt x="958474" y="3763428"/>
                  <a:pt x="1166019" y="3763428"/>
                </a:cubicBezTo>
                <a:lnTo>
                  <a:pt x="1224159" y="3763428"/>
                </a:lnTo>
                <a:cubicBezTo>
                  <a:pt x="1821558" y="3764094"/>
                  <a:pt x="2294255" y="3764536"/>
                  <a:pt x="2811032" y="3247183"/>
                </a:cubicBezTo>
                <a:cubicBezTo>
                  <a:pt x="3152592" y="2905932"/>
                  <a:pt x="3241908" y="2441795"/>
                  <a:pt x="3345325" y="1904398"/>
                </a:cubicBezTo>
                <a:cubicBezTo>
                  <a:pt x="3429275" y="1467978"/>
                  <a:pt x="3524043" y="975415"/>
                  <a:pt x="3768352" y="457973"/>
                </a:cubicBezTo>
                <a:close/>
                <a:moveTo>
                  <a:pt x="4434712" y="0"/>
                </a:moveTo>
                <a:lnTo>
                  <a:pt x="4245705" y="320275"/>
                </a:lnTo>
                <a:cubicBezTo>
                  <a:pt x="3902502" y="901710"/>
                  <a:pt x="3793099" y="1470196"/>
                  <a:pt x="3696599" y="1971805"/>
                </a:cubicBezTo>
                <a:cubicBezTo>
                  <a:pt x="3586795" y="2542375"/>
                  <a:pt x="3483111" y="3081281"/>
                  <a:pt x="3063988" y="3500051"/>
                </a:cubicBezTo>
                <a:cubicBezTo>
                  <a:pt x="2442019" y="4122640"/>
                  <a:pt x="1850118" y="4121886"/>
                  <a:pt x="1223804" y="4121043"/>
                </a:cubicBezTo>
                <a:lnTo>
                  <a:pt x="1166019" y="4121043"/>
                </a:lnTo>
                <a:cubicBezTo>
                  <a:pt x="826498" y="4121043"/>
                  <a:pt x="571680" y="4158959"/>
                  <a:pt x="448616" y="4227831"/>
                </a:cubicBezTo>
                <a:cubicBezTo>
                  <a:pt x="349456" y="4283265"/>
                  <a:pt x="271360" y="4355550"/>
                  <a:pt x="270563" y="4356261"/>
                </a:cubicBezTo>
                <a:lnTo>
                  <a:pt x="235262" y="4389120"/>
                </a:lnTo>
                <a:lnTo>
                  <a:pt x="158808" y="4146587"/>
                </a:lnTo>
                <a:cubicBezTo>
                  <a:pt x="54903" y="3816911"/>
                  <a:pt x="0" y="3433973"/>
                  <a:pt x="0" y="3039151"/>
                </a:cubicBezTo>
                <a:cubicBezTo>
                  <a:pt x="0" y="2303300"/>
                  <a:pt x="197345" y="1763552"/>
                  <a:pt x="621037" y="1340569"/>
                </a:cubicBezTo>
                <a:cubicBezTo>
                  <a:pt x="1440839" y="520680"/>
                  <a:pt x="2822784" y="229274"/>
                  <a:pt x="4066455" y="52374"/>
                </a:cubicBezTo>
                <a:close/>
              </a:path>
            </a:pathLst>
          </a:custGeom>
          <a:gradFill>
            <a:gsLst>
              <a:gs pos="9000">
                <a:schemeClr val="bg1">
                  <a:lumMod val="75000"/>
                </a:schemeClr>
              </a:gs>
              <a:gs pos="90000">
                <a:schemeClr val="bg1">
                  <a:lumMod val="75000"/>
                  <a:alpha val="7000"/>
                </a:scheme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366412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5_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E24406A-33A1-4B99-82CD-083813AA5B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ln>
            <a:solidFill>
              <a:schemeClr val="tx1"/>
            </a:solidFill>
          </a:ln>
        </p:spPr>
        <p:txBody>
          <a:bodyPr lIns="0" tIns="128016" rIns="0" bIns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/>
            <a:r>
              <a:rPr lang="en-GB"/>
              <a:t>Classification: INTERNAL USE ONLY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5E1AFC2-177E-4F8B-B396-B22824D35B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695D00A-BA34-4D39-8C84-2534822D643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7249B4-7789-44E0-AFE4-476C83B114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2958298"/>
            <a:ext cx="4160518" cy="3290102"/>
          </a:xfrm>
        </p:spPr>
        <p:txBody>
          <a:bodyPr anchor="t"/>
          <a:lstStyle>
            <a:lvl1pPr>
              <a:defRPr sz="4400" b="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Divider Title</a:t>
            </a:r>
            <a:endParaRPr lang="en-GB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5E7C070F-FE6E-FEC6-05D3-ED9AF746A76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798" y="2803454"/>
            <a:ext cx="4160520" cy="145390"/>
          </a:xfrm>
          <a:custGeom>
            <a:avLst/>
            <a:gdLst>
              <a:gd name="connsiteX0" fmla="*/ 0 w 2728912"/>
              <a:gd name="connsiteY0" fmla="*/ 0 h 768350"/>
              <a:gd name="connsiteX1" fmla="*/ 2728912 w 2728912"/>
              <a:gd name="connsiteY1" fmla="*/ 0 h 768350"/>
              <a:gd name="connsiteX2" fmla="*/ 2728912 w 2728912"/>
              <a:gd name="connsiteY2" fmla="*/ 768350 h 768350"/>
              <a:gd name="connsiteX3" fmla="*/ 0 w 2728912"/>
              <a:gd name="connsiteY3" fmla="*/ 768350 h 768350"/>
              <a:gd name="connsiteX4" fmla="*/ 0 w 2728912"/>
              <a:gd name="connsiteY4" fmla="*/ 0 h 768350"/>
              <a:gd name="connsiteX0" fmla="*/ 0 w 2728912"/>
              <a:gd name="connsiteY0" fmla="*/ 0 h 768350"/>
              <a:gd name="connsiteX1" fmla="*/ 2728912 w 2728912"/>
              <a:gd name="connsiteY1" fmla="*/ 0 h 768350"/>
              <a:gd name="connsiteX2" fmla="*/ 2728912 w 2728912"/>
              <a:gd name="connsiteY2" fmla="*/ 768350 h 768350"/>
              <a:gd name="connsiteX3" fmla="*/ 0 w 2728912"/>
              <a:gd name="connsiteY3" fmla="*/ 0 h 768350"/>
              <a:gd name="connsiteX0" fmla="*/ 0 w 2728912"/>
              <a:gd name="connsiteY0" fmla="*/ 0 h 0"/>
              <a:gd name="connsiteX1" fmla="*/ 2728912 w 2728912"/>
              <a:gd name="connsiteY1" fmla="*/ 0 h 0"/>
              <a:gd name="connsiteX2" fmla="*/ 0 w 2728912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28912">
                <a:moveTo>
                  <a:pt x="0" y="0"/>
                </a:moveTo>
                <a:lnTo>
                  <a:pt x="2728912" y="0"/>
                </a:lnTo>
                <a:lnTo>
                  <a:pt x="0" y="0"/>
                </a:lnTo>
                <a:close/>
              </a:path>
            </a:pathLst>
          </a:custGeom>
          <a:ln w="6350">
            <a:solidFill>
              <a:srgbClr val="334C56"/>
            </a:solidFill>
          </a:ln>
        </p:spPr>
        <p:txBody>
          <a:bodyPr/>
          <a:lstStyle>
            <a:lvl1pPr>
              <a:defRPr sz="1200">
                <a:noFill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3E316316-838D-89D3-5646-DBF4384FA8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04798" y="2418080"/>
            <a:ext cx="4160838" cy="375920"/>
          </a:xfrm>
        </p:spPr>
        <p:txBody>
          <a:bodyPr/>
          <a:lstStyle>
            <a:lvl1pPr marL="0" indent="0">
              <a:buNone/>
              <a:defRPr>
                <a:solidFill>
                  <a:srgbClr val="334C56"/>
                </a:solidFill>
              </a:defRPr>
            </a:lvl1pPr>
          </a:lstStyle>
          <a:p>
            <a:pPr lvl="0"/>
            <a:r>
              <a:rPr lang="en-US" dirty="0"/>
              <a:t>Chapter 1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ED3946EA-7D94-7E39-E092-6F0F2E24CA81}"/>
              </a:ext>
            </a:extLst>
          </p:cNvPr>
          <p:cNvSpPr/>
          <p:nvPr userDrawn="1"/>
        </p:nvSpPr>
        <p:spPr>
          <a:xfrm>
            <a:off x="5262762" y="0"/>
            <a:ext cx="6929238" cy="6858000"/>
          </a:xfrm>
          <a:custGeom>
            <a:avLst/>
            <a:gdLst>
              <a:gd name="connsiteX0" fmla="*/ 6929238 w 6929238"/>
              <a:gd name="connsiteY0" fmla="*/ 0 h 6858000"/>
              <a:gd name="connsiteX1" fmla="*/ 6633914 w 6929238"/>
              <a:gd name="connsiteY1" fmla="*/ 500430 h 6858000"/>
              <a:gd name="connsiteX2" fmla="*/ 5775936 w 6929238"/>
              <a:gd name="connsiteY2" fmla="*/ 3080945 h 6858000"/>
              <a:gd name="connsiteX3" fmla="*/ 4787482 w 6929238"/>
              <a:gd name="connsiteY3" fmla="*/ 5468830 h 6858000"/>
              <a:gd name="connsiteX4" fmla="*/ 1912194 w 6929238"/>
              <a:gd name="connsiteY4" fmla="*/ 6439130 h 6858000"/>
              <a:gd name="connsiteX5" fmla="*/ 1821905 w 6929238"/>
              <a:gd name="connsiteY5" fmla="*/ 6439130 h 6858000"/>
              <a:gd name="connsiteX6" fmla="*/ 700963 w 6929238"/>
              <a:gd name="connsiteY6" fmla="*/ 6605986 h 6858000"/>
              <a:gd name="connsiteX7" fmla="*/ 422755 w 6929238"/>
              <a:gd name="connsiteY7" fmla="*/ 6806658 h 6858000"/>
              <a:gd name="connsiteX8" fmla="*/ 367597 w 6929238"/>
              <a:gd name="connsiteY8" fmla="*/ 6858000 h 6858000"/>
              <a:gd name="connsiteX9" fmla="*/ 248138 w 6929238"/>
              <a:gd name="connsiteY9" fmla="*/ 6479042 h 6858000"/>
              <a:gd name="connsiteX10" fmla="*/ 0 w 6929238"/>
              <a:gd name="connsiteY10" fmla="*/ 4748674 h 6858000"/>
              <a:gd name="connsiteX11" fmla="*/ 970371 w 6929238"/>
              <a:gd name="connsiteY11" fmla="*/ 2094639 h 6858000"/>
              <a:gd name="connsiteX12" fmla="*/ 6353836 w 6929238"/>
              <a:gd name="connsiteY12" fmla="*/ 81834 h 6858000"/>
              <a:gd name="connsiteX13" fmla="*/ 6929238 w 6929238"/>
              <a:gd name="connsiteY13" fmla="*/ 0 h 6858000"/>
              <a:gd name="connsiteX14" fmla="*/ 5888050 w 6929238"/>
              <a:gd name="connsiteY14" fmla="*/ 715583 h 6858000"/>
              <a:gd name="connsiteX15" fmla="*/ 1365338 w 6929238"/>
              <a:gd name="connsiteY15" fmla="*/ 2490022 h 6858000"/>
              <a:gd name="connsiteX16" fmla="*/ 558844 w 6929238"/>
              <a:gd name="connsiteY16" fmla="*/ 4748674 h 6858000"/>
              <a:gd name="connsiteX17" fmla="*/ 698050 w 6929238"/>
              <a:gd name="connsiteY17" fmla="*/ 6007647 h 6858000"/>
              <a:gd name="connsiteX18" fmla="*/ 1821905 w 6929238"/>
              <a:gd name="connsiteY18" fmla="*/ 5880356 h 6858000"/>
              <a:gd name="connsiteX19" fmla="*/ 1912749 w 6929238"/>
              <a:gd name="connsiteY19" fmla="*/ 5880356 h 6858000"/>
              <a:gd name="connsiteX20" fmla="*/ 4392238 w 6929238"/>
              <a:gd name="connsiteY20" fmla="*/ 5073724 h 6858000"/>
              <a:gd name="connsiteX21" fmla="*/ 5227070 w 6929238"/>
              <a:gd name="connsiteY21" fmla="*/ 2975622 h 6858000"/>
              <a:gd name="connsiteX22" fmla="*/ 5888050 w 6929238"/>
              <a:gd name="connsiteY22" fmla="*/ 71558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6929238" h="6858000">
                <a:moveTo>
                  <a:pt x="6929238" y="0"/>
                </a:moveTo>
                <a:lnTo>
                  <a:pt x="6633914" y="500430"/>
                </a:lnTo>
                <a:cubicBezTo>
                  <a:pt x="6097660" y="1408922"/>
                  <a:pt x="5926718" y="2297181"/>
                  <a:pt x="5775936" y="3080945"/>
                </a:cubicBezTo>
                <a:cubicBezTo>
                  <a:pt x="5604368" y="3972461"/>
                  <a:pt x="5442362" y="4814502"/>
                  <a:pt x="4787482" y="5468830"/>
                </a:cubicBezTo>
                <a:cubicBezTo>
                  <a:pt x="3815655" y="6441625"/>
                  <a:pt x="2890810" y="6440447"/>
                  <a:pt x="1912194" y="6439130"/>
                </a:cubicBezTo>
                <a:lnTo>
                  <a:pt x="1821905" y="6439130"/>
                </a:lnTo>
                <a:cubicBezTo>
                  <a:pt x="1291403" y="6439130"/>
                  <a:pt x="893250" y="6498374"/>
                  <a:pt x="700963" y="6605986"/>
                </a:cubicBezTo>
                <a:cubicBezTo>
                  <a:pt x="546025" y="6692602"/>
                  <a:pt x="424000" y="6805547"/>
                  <a:pt x="422755" y="6806658"/>
                </a:cubicBezTo>
                <a:lnTo>
                  <a:pt x="367597" y="6858000"/>
                </a:lnTo>
                <a:lnTo>
                  <a:pt x="248138" y="6479042"/>
                </a:lnTo>
                <a:cubicBezTo>
                  <a:pt x="85786" y="5963924"/>
                  <a:pt x="0" y="5365583"/>
                  <a:pt x="0" y="4748674"/>
                </a:cubicBezTo>
                <a:cubicBezTo>
                  <a:pt x="0" y="3598906"/>
                  <a:pt x="308352" y="2755550"/>
                  <a:pt x="970371" y="2094639"/>
                </a:cubicBezTo>
                <a:cubicBezTo>
                  <a:pt x="2251311" y="813563"/>
                  <a:pt x="4410600" y="358241"/>
                  <a:pt x="6353836" y="81834"/>
                </a:cubicBezTo>
                <a:lnTo>
                  <a:pt x="6929238" y="0"/>
                </a:lnTo>
                <a:close/>
                <a:moveTo>
                  <a:pt x="5888050" y="715583"/>
                </a:moveTo>
                <a:cubicBezTo>
                  <a:pt x="3693214" y="1061213"/>
                  <a:pt x="2213269" y="1641952"/>
                  <a:pt x="1365338" y="2490022"/>
                </a:cubicBezTo>
                <a:cubicBezTo>
                  <a:pt x="815088" y="3039300"/>
                  <a:pt x="558844" y="3757030"/>
                  <a:pt x="558844" y="4748674"/>
                </a:cubicBezTo>
                <a:cubicBezTo>
                  <a:pt x="558844" y="5186533"/>
                  <a:pt x="606933" y="5620580"/>
                  <a:pt x="698050" y="6007647"/>
                </a:cubicBezTo>
                <a:cubicBezTo>
                  <a:pt x="1046247" y="5902875"/>
                  <a:pt x="1497616" y="5880356"/>
                  <a:pt x="1821905" y="5880356"/>
                </a:cubicBezTo>
                <a:lnTo>
                  <a:pt x="1912749" y="5880356"/>
                </a:lnTo>
                <a:cubicBezTo>
                  <a:pt x="2846185" y="5881397"/>
                  <a:pt x="3584774" y="5882088"/>
                  <a:pt x="4392238" y="5073724"/>
                </a:cubicBezTo>
                <a:cubicBezTo>
                  <a:pt x="4925926" y="4540519"/>
                  <a:pt x="5065482" y="3815305"/>
                  <a:pt x="5227070" y="2975622"/>
                </a:cubicBezTo>
                <a:cubicBezTo>
                  <a:pt x="5358242" y="2293716"/>
                  <a:pt x="5506318" y="1524086"/>
                  <a:pt x="5888050" y="715583"/>
                </a:cubicBezTo>
                <a:close/>
              </a:path>
            </a:pathLst>
          </a:custGeom>
          <a:solidFill>
            <a:srgbClr val="334C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09F66203-2118-FD92-A0D4-55E7E25A2F50}"/>
              </a:ext>
            </a:extLst>
          </p:cNvPr>
          <p:cNvSpPr/>
          <p:nvPr userDrawn="1"/>
        </p:nvSpPr>
        <p:spPr>
          <a:xfrm>
            <a:off x="5630359" y="0"/>
            <a:ext cx="6561641" cy="6858000"/>
          </a:xfrm>
          <a:custGeom>
            <a:avLst/>
            <a:gdLst>
              <a:gd name="connsiteX0" fmla="*/ 6561641 w 6561641"/>
              <a:gd name="connsiteY0" fmla="*/ 0 h 6858000"/>
              <a:gd name="connsiteX1" fmla="*/ 6561641 w 6561641"/>
              <a:gd name="connsiteY1" fmla="*/ 6858000 h 6858000"/>
              <a:gd name="connsiteX2" fmla="*/ 0 w 6561641"/>
              <a:gd name="connsiteY2" fmla="*/ 6858000 h 6858000"/>
              <a:gd name="connsiteX3" fmla="*/ 55158 w 6561641"/>
              <a:gd name="connsiteY3" fmla="*/ 6806658 h 6858000"/>
              <a:gd name="connsiteX4" fmla="*/ 333366 w 6561641"/>
              <a:gd name="connsiteY4" fmla="*/ 6605986 h 6858000"/>
              <a:gd name="connsiteX5" fmla="*/ 1454308 w 6561641"/>
              <a:gd name="connsiteY5" fmla="*/ 6439130 h 6858000"/>
              <a:gd name="connsiteX6" fmla="*/ 1544597 w 6561641"/>
              <a:gd name="connsiteY6" fmla="*/ 6439130 h 6858000"/>
              <a:gd name="connsiteX7" fmla="*/ 4419885 w 6561641"/>
              <a:gd name="connsiteY7" fmla="*/ 5468830 h 6858000"/>
              <a:gd name="connsiteX8" fmla="*/ 5408339 w 6561641"/>
              <a:gd name="connsiteY8" fmla="*/ 3080945 h 6858000"/>
              <a:gd name="connsiteX9" fmla="*/ 6266317 w 6561641"/>
              <a:gd name="connsiteY9" fmla="*/ 500430 h 6858000"/>
              <a:gd name="connsiteX10" fmla="*/ 6561641 w 6561641"/>
              <a:gd name="connsiteY10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561641" h="6858000">
                <a:moveTo>
                  <a:pt x="6561641" y="0"/>
                </a:moveTo>
                <a:lnTo>
                  <a:pt x="6561641" y="6858000"/>
                </a:lnTo>
                <a:lnTo>
                  <a:pt x="0" y="6858000"/>
                </a:lnTo>
                <a:lnTo>
                  <a:pt x="55158" y="6806658"/>
                </a:lnTo>
                <a:cubicBezTo>
                  <a:pt x="56403" y="6805547"/>
                  <a:pt x="178428" y="6692602"/>
                  <a:pt x="333366" y="6605986"/>
                </a:cubicBezTo>
                <a:cubicBezTo>
                  <a:pt x="525653" y="6498374"/>
                  <a:pt x="923806" y="6439130"/>
                  <a:pt x="1454308" y="6439130"/>
                </a:cubicBezTo>
                <a:lnTo>
                  <a:pt x="1544597" y="6439130"/>
                </a:lnTo>
                <a:cubicBezTo>
                  <a:pt x="2523213" y="6440447"/>
                  <a:pt x="3448058" y="6441625"/>
                  <a:pt x="4419885" y="5468830"/>
                </a:cubicBezTo>
                <a:cubicBezTo>
                  <a:pt x="5074765" y="4814502"/>
                  <a:pt x="5236771" y="3972461"/>
                  <a:pt x="5408339" y="3080945"/>
                </a:cubicBezTo>
                <a:cubicBezTo>
                  <a:pt x="5559121" y="2297181"/>
                  <a:pt x="5730063" y="1408922"/>
                  <a:pt x="6266317" y="500430"/>
                </a:cubicBezTo>
                <a:lnTo>
                  <a:pt x="6561641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81B85D21-20D6-81C7-372C-A51556C2264A}"/>
              </a:ext>
            </a:extLst>
          </p:cNvPr>
          <p:cNvSpPr/>
          <p:nvPr userDrawn="1"/>
        </p:nvSpPr>
        <p:spPr>
          <a:xfrm>
            <a:off x="5821606" y="715583"/>
            <a:ext cx="5329206" cy="5292064"/>
          </a:xfrm>
          <a:custGeom>
            <a:avLst/>
            <a:gdLst>
              <a:gd name="connsiteX0" fmla="*/ 5329206 w 5329206"/>
              <a:gd name="connsiteY0" fmla="*/ 0 h 5292064"/>
              <a:gd name="connsiteX1" fmla="*/ 4668226 w 5329206"/>
              <a:gd name="connsiteY1" fmla="*/ 2260039 h 5292064"/>
              <a:gd name="connsiteX2" fmla="*/ 3833394 w 5329206"/>
              <a:gd name="connsiteY2" fmla="*/ 4358141 h 5292064"/>
              <a:gd name="connsiteX3" fmla="*/ 1353905 w 5329206"/>
              <a:gd name="connsiteY3" fmla="*/ 5164773 h 5292064"/>
              <a:gd name="connsiteX4" fmla="*/ 1263061 w 5329206"/>
              <a:gd name="connsiteY4" fmla="*/ 5164773 h 5292064"/>
              <a:gd name="connsiteX5" fmla="*/ 139206 w 5329206"/>
              <a:gd name="connsiteY5" fmla="*/ 5292064 h 5292064"/>
              <a:gd name="connsiteX6" fmla="*/ 0 w 5329206"/>
              <a:gd name="connsiteY6" fmla="*/ 4033091 h 5292064"/>
              <a:gd name="connsiteX7" fmla="*/ 806494 w 5329206"/>
              <a:gd name="connsiteY7" fmla="*/ 1774439 h 5292064"/>
              <a:gd name="connsiteX8" fmla="*/ 5329206 w 5329206"/>
              <a:gd name="connsiteY8" fmla="*/ 0 h 52920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329206" h="5292064">
                <a:moveTo>
                  <a:pt x="5329206" y="0"/>
                </a:moveTo>
                <a:cubicBezTo>
                  <a:pt x="4947474" y="808503"/>
                  <a:pt x="4799398" y="1578133"/>
                  <a:pt x="4668226" y="2260039"/>
                </a:cubicBezTo>
                <a:cubicBezTo>
                  <a:pt x="4506638" y="3099722"/>
                  <a:pt x="4367082" y="3824936"/>
                  <a:pt x="3833394" y="4358141"/>
                </a:cubicBezTo>
                <a:cubicBezTo>
                  <a:pt x="3025930" y="5166505"/>
                  <a:pt x="2287341" y="5165814"/>
                  <a:pt x="1353905" y="5164773"/>
                </a:cubicBezTo>
                <a:lnTo>
                  <a:pt x="1263061" y="5164773"/>
                </a:lnTo>
                <a:cubicBezTo>
                  <a:pt x="938772" y="5164773"/>
                  <a:pt x="487403" y="5187292"/>
                  <a:pt x="139206" y="5292064"/>
                </a:cubicBezTo>
                <a:cubicBezTo>
                  <a:pt x="48089" y="4904997"/>
                  <a:pt x="0" y="4470950"/>
                  <a:pt x="0" y="4033091"/>
                </a:cubicBezTo>
                <a:cubicBezTo>
                  <a:pt x="0" y="3041447"/>
                  <a:pt x="256244" y="2323717"/>
                  <a:pt x="806494" y="1774439"/>
                </a:cubicBezTo>
                <a:cubicBezTo>
                  <a:pt x="1654425" y="926369"/>
                  <a:pt x="3134370" y="345630"/>
                  <a:pt x="5329206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817B55BB-480E-E9CB-4CC7-46CC3674C5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55960" y="6399515"/>
            <a:ext cx="1031238" cy="307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69430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796493-64B4-D3B4-8B48-832A302568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4612724-616A-B950-0E4D-241BD997183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GB"/>
              <a:t>Classification: INTERNAL USE ONLY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F27259-DF4D-D066-D879-2B21045AFDB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95D00A-BA34-4D39-8C84-2534822D643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7919953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538390-44A4-453D-972A-27D940A685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EF6409-318C-437F-82C8-F0D7E1BD65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128016" rIns="0" bIns="0"/>
          <a:lstStyle/>
          <a:p>
            <a:pPr algn="r"/>
            <a:r>
              <a:rPr lang="en-GB"/>
              <a:t>Classification: INTERNAL USE ONLY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D2DB9EE-AC50-4E3C-AF58-A0032DF3B8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7695D00A-BA34-4D39-8C84-2534822D643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9E4E1FB-0AC6-4EF6-85D7-E7C69687BA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581958"/>
            <a:ext cx="11582400" cy="4666441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43624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8_Two columns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57297128-6578-3270-F01A-CD0BB0591C1F}"/>
              </a:ext>
            </a:extLst>
          </p:cNvPr>
          <p:cNvSpPr/>
          <p:nvPr/>
        </p:nvSpPr>
        <p:spPr>
          <a:xfrm flipV="1">
            <a:off x="0" y="0"/>
            <a:ext cx="12192000" cy="431202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53876BC-0069-4DEA-8531-12B084DB4F8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4800" y="1444561"/>
            <a:ext cx="5678424" cy="4361688"/>
          </a:xfrm>
          <a:prstGeom prst="roundRect">
            <a:avLst>
              <a:gd name="adj" fmla="val 3467"/>
            </a:avLst>
          </a:prstGeom>
          <a:solidFill>
            <a:schemeClr val="bg1"/>
          </a:solidFill>
          <a:ln>
            <a:solidFill>
              <a:schemeClr val="tx2"/>
            </a:solidFill>
          </a:ln>
          <a:effectLst/>
        </p:spPr>
        <p:txBody>
          <a:bodyPr lIns="182880" tIns="109728" rIns="182880" bIns="137160" anchor="t"/>
          <a:lstStyle>
            <a:lvl1pPr marL="0" indent="0">
              <a:buNone/>
              <a:defRPr sz="2200" b="1">
                <a:solidFill>
                  <a:schemeClr val="accent4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0C3BA70B-9A57-4C78-9121-14908D1B4D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08776" y="1444561"/>
            <a:ext cx="5678424" cy="4361688"/>
          </a:xfrm>
          <a:prstGeom prst="roundRect">
            <a:avLst>
              <a:gd name="adj" fmla="val 3380"/>
            </a:avLst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txBody>
          <a:bodyPr lIns="182880" tIns="109728" rIns="182880" bIns="137160" anchor="t"/>
          <a:lstStyle>
            <a:lvl1pPr marL="0" indent="0">
              <a:buNone/>
              <a:defRPr sz="2200" b="1">
                <a:solidFill>
                  <a:schemeClr val="accent5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3538390-44A4-453D-972A-27D940A685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228601"/>
            <a:ext cx="11582400" cy="777240"/>
          </a:xfrm>
        </p:spPr>
        <p:txBody>
          <a:bodyPr lIns="0" tIns="0" rIns="0" bIns="0"/>
          <a:lstStyle>
            <a:lvl1pPr>
              <a:defRPr b="1"/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EF6409-318C-437F-82C8-F0D7E1BD65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128016" rIns="0" bIns="0"/>
          <a:lstStyle/>
          <a:p>
            <a:pPr algn="r"/>
            <a:r>
              <a:rPr lang="en-GB"/>
              <a:t>Classification: INTERNAL USE ONLY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D2DB9EE-AC50-4E3C-AF58-A0032DF3B8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7695D00A-BA34-4D39-8C84-2534822D643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9E4E1FB-0AC6-4EF6-85D7-E7C69687BA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2195159"/>
            <a:ext cx="5678424" cy="3611090"/>
          </a:xfrm>
          <a:effectLst/>
        </p:spPr>
        <p:txBody>
          <a:bodyPr lIns="182880" tIns="0" rIns="18288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72599A3-164A-44BE-AEF5-BDF02C58C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08776" y="2195159"/>
            <a:ext cx="5678424" cy="3611090"/>
          </a:xfrm>
          <a:effectLst/>
        </p:spPr>
        <p:txBody>
          <a:bodyPr lIns="182880" tIns="0" rIns="18288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D606758-4385-4A20-BE7A-5EA8B7B92DC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04800" y="5890779"/>
            <a:ext cx="11582400" cy="357621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 algn="ctr">
              <a:buNone/>
              <a:defRPr lang="en-US" b="1" smtClean="0">
                <a:solidFill>
                  <a:schemeClr val="tx1"/>
                </a:solidFill>
              </a:defRPr>
            </a:lvl1pPr>
            <a:lvl2pPr algn="ctr">
              <a:defRPr lang="en-US" sz="1800" smtClean="0">
                <a:solidFill>
                  <a:schemeClr val="lt1"/>
                </a:solidFill>
              </a:defRPr>
            </a:lvl2pPr>
            <a:lvl3pPr algn="ctr">
              <a:defRPr lang="en-US" sz="1800" smtClean="0">
                <a:solidFill>
                  <a:schemeClr val="lt1"/>
                </a:solidFill>
              </a:defRPr>
            </a:lvl3pPr>
            <a:lvl4pPr algn="ctr">
              <a:defRPr lang="en-US" sz="1800" smtClean="0">
                <a:solidFill>
                  <a:schemeClr val="lt1"/>
                </a:solidFill>
              </a:defRPr>
            </a:lvl4pPr>
            <a:lvl5pPr algn="ctr">
              <a:defRPr lang="en-GB" sz="180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 dirty="0"/>
              <a:t>Takeaway messag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64997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pos="7680">
          <p15:clr>
            <a:srgbClr val="FBAE40"/>
          </p15:clr>
        </p15:guide>
        <p15:guide id="3" pos="192">
          <p15:clr>
            <a:srgbClr val="FBAE40"/>
          </p15:clr>
        </p15:guide>
        <p15:guide id="4" pos="3768">
          <p15:clr>
            <a:srgbClr val="FBAE40"/>
          </p15:clr>
        </p15:guide>
        <p15:guide id="5" pos="3912">
          <p15:clr>
            <a:srgbClr val="FBAE40"/>
          </p15:clr>
        </p15:guide>
        <p15:guide id="6" pos="7488">
          <p15:clr>
            <a:srgbClr val="FBAE40"/>
          </p15:clr>
        </p15:guide>
        <p15:guide id="7" orient="horz">
          <p15:clr>
            <a:srgbClr val="FBAE40"/>
          </p15:clr>
        </p15:guide>
        <p15:guide id="8" orient="horz" pos="4320">
          <p15:clr>
            <a:srgbClr val="FBAE40"/>
          </p15:clr>
        </p15:guide>
        <p15:guide id="9" orient="horz" pos="144">
          <p15:clr>
            <a:srgbClr val="FBAE40"/>
          </p15:clr>
        </p15:guide>
        <p15:guide id="10" orient="horz" pos="3936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9_Three columns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115A016-040A-498C-AA54-84F2FB07FFCD}"/>
              </a:ext>
            </a:extLst>
          </p:cNvPr>
          <p:cNvSpPr/>
          <p:nvPr/>
        </p:nvSpPr>
        <p:spPr>
          <a:xfrm>
            <a:off x="0" y="0"/>
            <a:ext cx="12192000" cy="43057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3538390-44A4-453D-972A-27D940A685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228601"/>
            <a:ext cx="11582400" cy="777240"/>
          </a:xfrm>
        </p:spPr>
        <p:txBody>
          <a:bodyPr lIns="0" tIns="0" rIns="0" bIns="0"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EF6409-318C-437F-82C8-F0D7E1BD65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128016" rIns="0" bIns="0"/>
          <a:lstStyle/>
          <a:p>
            <a:pPr algn="r"/>
            <a:r>
              <a:rPr lang="en-GB"/>
              <a:t>Classification: INTERNAL USE ONLY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D2DB9EE-AC50-4E3C-AF58-A0032DF3B8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7695D00A-BA34-4D39-8C84-2534822D643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53876BC-0069-4DEA-8531-12B084DB4F8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4800" y="1444561"/>
            <a:ext cx="3712464" cy="4361688"/>
          </a:xfrm>
          <a:prstGeom prst="roundRect">
            <a:avLst>
              <a:gd name="adj" fmla="val 4250"/>
            </a:avLst>
          </a:prstGeom>
          <a:solidFill>
            <a:schemeClr val="bg1"/>
          </a:solidFill>
          <a:ln>
            <a:solidFill>
              <a:schemeClr val="tx2"/>
            </a:solidFill>
          </a:ln>
          <a:effectLst/>
        </p:spPr>
        <p:txBody>
          <a:bodyPr lIns="182880" tIns="109728" rIns="182880" bIns="0" anchor="t" anchorCtr="0">
            <a:noAutofit/>
          </a:bodyPr>
          <a:lstStyle>
            <a:lvl1pPr marL="0" indent="0">
              <a:buNone/>
              <a:defRPr sz="2200" b="1">
                <a:solidFill>
                  <a:schemeClr val="accent4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0C3BA70B-9A57-4C78-9121-14908D1B4D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39768" y="1444561"/>
            <a:ext cx="3712464" cy="4361688"/>
          </a:xfrm>
          <a:prstGeom prst="roundRect">
            <a:avLst>
              <a:gd name="adj" fmla="val 4202"/>
            </a:avLst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txBody>
          <a:bodyPr lIns="182880" tIns="109728" rIns="182880" bIns="0" anchor="t" anchorCtr="0">
            <a:noAutofit/>
          </a:bodyPr>
          <a:lstStyle>
            <a:lvl1pPr marL="0" indent="0">
              <a:buNone/>
              <a:defRPr sz="2200" b="1">
                <a:solidFill>
                  <a:schemeClr val="accent5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92BD31AA-7B0D-404B-8B06-0A019D86A8B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74736" y="1444561"/>
            <a:ext cx="3712464" cy="4361688"/>
          </a:xfrm>
          <a:prstGeom prst="roundRect">
            <a:avLst>
              <a:gd name="adj" fmla="val 3696"/>
            </a:avLst>
          </a:prstGeom>
          <a:solidFill>
            <a:schemeClr val="bg1"/>
          </a:solidFill>
          <a:ln>
            <a:solidFill>
              <a:schemeClr val="bg2"/>
            </a:solidFill>
          </a:ln>
          <a:effectLst/>
        </p:spPr>
        <p:txBody>
          <a:bodyPr lIns="182880" tIns="109728" rIns="182880" bIns="0" anchor="t" anchorCtr="0">
            <a:noAutofit/>
          </a:bodyPr>
          <a:lstStyle>
            <a:lvl1pPr marL="0" indent="0">
              <a:buNone/>
              <a:defRPr sz="2200" b="1">
                <a:solidFill>
                  <a:schemeClr val="accent3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D9A85587-51A2-4433-9B6D-03ED8C4EC57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04800" y="5890779"/>
            <a:ext cx="11582400" cy="3576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 algn="ctr">
              <a:buNone/>
              <a:defRPr lang="en-US" b="1" smtClean="0">
                <a:solidFill>
                  <a:schemeClr val="tx1"/>
                </a:solidFill>
              </a:defRPr>
            </a:lvl1pPr>
            <a:lvl2pPr algn="ctr">
              <a:defRPr lang="en-US" sz="1800" smtClean="0">
                <a:solidFill>
                  <a:schemeClr val="lt1"/>
                </a:solidFill>
              </a:defRPr>
            </a:lvl2pPr>
            <a:lvl3pPr algn="ctr">
              <a:defRPr lang="en-US" sz="1800" smtClean="0">
                <a:solidFill>
                  <a:schemeClr val="lt1"/>
                </a:solidFill>
              </a:defRPr>
            </a:lvl3pPr>
            <a:lvl4pPr algn="ctr">
              <a:defRPr lang="en-US" sz="1800" smtClean="0">
                <a:solidFill>
                  <a:schemeClr val="lt1"/>
                </a:solidFill>
              </a:defRPr>
            </a:lvl4pPr>
            <a:lvl5pPr algn="ctr">
              <a:defRPr lang="en-GB" sz="180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 dirty="0"/>
              <a:t>Takeaway messag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9E4E1FB-0AC6-4EF6-85D7-E7C69687BA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2195159"/>
            <a:ext cx="3712464" cy="3588259"/>
          </a:xfrm>
          <a:prstGeom prst="rect">
            <a:avLst/>
          </a:prstGeom>
          <a:noFill/>
          <a:ln>
            <a:noFill/>
          </a:ln>
        </p:spPr>
        <p:txBody>
          <a:bodyPr lIns="182880" tIns="0" rIns="18288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72599A3-164A-44BE-AEF5-BDF02C58C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39768" y="2195159"/>
            <a:ext cx="3712464" cy="3588259"/>
          </a:xfrm>
          <a:prstGeom prst="rect">
            <a:avLst/>
          </a:prstGeom>
          <a:noFill/>
          <a:ln>
            <a:noFill/>
          </a:ln>
        </p:spPr>
        <p:txBody>
          <a:bodyPr lIns="182880" tIns="0" rIns="18288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8D3A791-F074-45A1-A38B-D8921817820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74736" y="2195159"/>
            <a:ext cx="3712464" cy="3588259"/>
          </a:xfrm>
          <a:prstGeom prst="rect">
            <a:avLst/>
          </a:prstGeom>
          <a:noFill/>
          <a:ln>
            <a:noFill/>
          </a:ln>
        </p:spPr>
        <p:txBody>
          <a:bodyPr lIns="182880" tIns="0" rIns="18288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729948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pos="7680">
          <p15:clr>
            <a:srgbClr val="FBAE40"/>
          </p15:clr>
        </p15:guide>
        <p15:guide id="3" pos="192">
          <p15:clr>
            <a:srgbClr val="FBAE40"/>
          </p15:clr>
        </p15:guide>
        <p15:guide id="4" pos="2528">
          <p15:clr>
            <a:srgbClr val="FBAE40"/>
          </p15:clr>
        </p15:guide>
        <p15:guide id="5" pos="2672">
          <p15:clr>
            <a:srgbClr val="FBAE40"/>
          </p15:clr>
        </p15:guide>
        <p15:guide id="6" pos="5008">
          <p15:clr>
            <a:srgbClr val="FBAE40"/>
          </p15:clr>
        </p15:guide>
        <p15:guide id="7" pos="5152">
          <p15:clr>
            <a:srgbClr val="FBAE40"/>
          </p15:clr>
        </p15:guide>
        <p15:guide id="8" pos="7488">
          <p15:clr>
            <a:srgbClr val="FBAE40"/>
          </p15:clr>
        </p15:guide>
        <p15:guide id="9" orient="horz">
          <p15:clr>
            <a:srgbClr val="FBAE40"/>
          </p15:clr>
        </p15:guide>
        <p15:guide id="10" orient="horz" pos="4320">
          <p15:clr>
            <a:srgbClr val="FBAE40"/>
          </p15:clr>
        </p15:guide>
        <p15:guide id="11" orient="horz" pos="144">
          <p15:clr>
            <a:srgbClr val="FBAE40"/>
          </p15:clr>
        </p15:guide>
        <p15:guide id="12" orient="horz" pos="3936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46203" y="1651000"/>
            <a:ext cx="9777540" cy="376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3572C-12F5-47C0-A119-BE3602A66766}" type="slidenum">
              <a:rPr lang="en-US" smtClean="0"/>
              <a:t>‹#›</a:t>
            </a:fld>
            <a:endParaRPr lang="en-US"/>
          </a:p>
        </p:txBody>
      </p:sp>
      <p:sp>
        <p:nvSpPr>
          <p:cNvPr id="5" name="Rectangle 5"/>
          <p:cNvSpPr>
            <a:spLocks noChangeArrowheads="1"/>
          </p:cNvSpPr>
          <p:nvPr userDrawn="1"/>
        </p:nvSpPr>
        <p:spPr bwMode="gray">
          <a:xfrm>
            <a:off x="10409376" y="-671330"/>
            <a:ext cx="1792817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gray">
          <a:xfrm>
            <a:off x="10846338" y="-662103"/>
            <a:ext cx="1342492" cy="68487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>Classification: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4550864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Four columns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115A016-040A-498C-AA54-84F2FB07FFCD}"/>
              </a:ext>
            </a:extLst>
          </p:cNvPr>
          <p:cNvSpPr/>
          <p:nvPr/>
        </p:nvSpPr>
        <p:spPr>
          <a:xfrm>
            <a:off x="0" y="0"/>
            <a:ext cx="12192000" cy="43057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3538390-44A4-453D-972A-27D940A685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228601"/>
            <a:ext cx="11582400" cy="777240"/>
          </a:xfrm>
        </p:spPr>
        <p:txBody>
          <a:bodyPr lIns="0" tIns="0" rIns="0" bIns="0"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EF6409-318C-437F-82C8-F0D7E1BD65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128016" rIns="0" bIns="0"/>
          <a:lstStyle/>
          <a:p>
            <a:pPr algn="r"/>
            <a:r>
              <a:rPr lang="en-GB"/>
              <a:t>Classification: INTERNAL USE ONLY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D2DB9EE-AC50-4E3C-AF58-A0032DF3B8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7695D00A-BA34-4D39-8C84-2534822D643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53876BC-0069-4DEA-8531-12B084DB4F8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4800" y="1444561"/>
            <a:ext cx="2724912" cy="4361688"/>
          </a:xfrm>
          <a:prstGeom prst="roundRect">
            <a:avLst>
              <a:gd name="adj" fmla="val 4353"/>
            </a:avLst>
          </a:prstGeom>
          <a:solidFill>
            <a:schemeClr val="bg1"/>
          </a:solidFill>
          <a:ln>
            <a:solidFill>
              <a:schemeClr val="tx2"/>
            </a:solidFill>
          </a:ln>
          <a:effectLst/>
        </p:spPr>
        <p:txBody>
          <a:bodyPr lIns="182880" tIns="109728" rIns="182880" bIns="0" anchor="t" anchorCtr="0">
            <a:noAutofit/>
          </a:bodyPr>
          <a:lstStyle>
            <a:lvl1pPr marL="0" indent="0">
              <a:buNone/>
              <a:defRPr sz="2200" b="1">
                <a:solidFill>
                  <a:schemeClr val="accent4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0C3BA70B-9A57-4C78-9121-14908D1B4D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57296" y="1444561"/>
            <a:ext cx="2724912" cy="4361688"/>
          </a:xfrm>
          <a:prstGeom prst="roundRect">
            <a:avLst>
              <a:gd name="adj" fmla="val 5120"/>
            </a:avLst>
          </a:prstGeom>
          <a:solidFill>
            <a:schemeClr val="bg1"/>
          </a:solidFill>
          <a:ln>
            <a:solidFill>
              <a:schemeClr val="tx2"/>
            </a:solidFill>
          </a:ln>
          <a:effectLst/>
        </p:spPr>
        <p:txBody>
          <a:bodyPr lIns="182880" tIns="109728" rIns="182880" bIns="0" anchor="t" anchorCtr="0">
            <a:noAutofit/>
          </a:bodyPr>
          <a:lstStyle>
            <a:lvl1pPr marL="0" indent="0">
              <a:buNone/>
              <a:defRPr sz="2200" b="1">
                <a:solidFill>
                  <a:schemeClr val="accent4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92BD31AA-7B0D-404B-8B06-0A019D86A8B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09792" y="1444561"/>
            <a:ext cx="2724912" cy="4361688"/>
          </a:xfrm>
          <a:prstGeom prst="roundRect">
            <a:avLst>
              <a:gd name="adj" fmla="val 4328"/>
            </a:avLst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txBody>
          <a:bodyPr lIns="182880" tIns="109728" rIns="182880" bIns="0" anchor="t" anchorCtr="0">
            <a:noAutofit/>
          </a:bodyPr>
          <a:lstStyle>
            <a:lvl1pPr marL="0" indent="0">
              <a:buNone/>
              <a:defRPr sz="2200" b="1">
                <a:solidFill>
                  <a:schemeClr val="accent5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E8F2B0A6-5E8F-4383-B03D-709114FCAA8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162288" y="1444561"/>
            <a:ext cx="2724912" cy="4361688"/>
          </a:xfrm>
          <a:prstGeom prst="roundRect">
            <a:avLst>
              <a:gd name="adj" fmla="val 3629"/>
            </a:avLst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txBody>
          <a:bodyPr lIns="182880" tIns="109728" rIns="182880" bIns="0" anchor="t" anchorCtr="0">
            <a:noAutofit/>
          </a:bodyPr>
          <a:lstStyle>
            <a:lvl1pPr marL="0" indent="0">
              <a:buNone/>
              <a:defRPr sz="2200" b="1">
                <a:solidFill>
                  <a:schemeClr val="accent5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9E4E1FB-0AC6-4EF6-85D7-E7C69687BA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2195159"/>
            <a:ext cx="2724912" cy="3611090"/>
          </a:xfrm>
          <a:prstGeom prst="rect">
            <a:avLst/>
          </a:prstGeom>
          <a:noFill/>
          <a:ln>
            <a:noFill/>
          </a:ln>
        </p:spPr>
        <p:txBody>
          <a:bodyPr lIns="182880" tIns="0" rIns="182880" bIns="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72599A3-164A-44BE-AEF5-BDF02C58C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57296" y="2195159"/>
            <a:ext cx="2724912" cy="3611090"/>
          </a:xfrm>
          <a:prstGeom prst="rect">
            <a:avLst/>
          </a:prstGeom>
          <a:noFill/>
          <a:ln>
            <a:noFill/>
          </a:ln>
        </p:spPr>
        <p:txBody>
          <a:bodyPr lIns="182880" tIns="0" rIns="182880" bIns="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8D3A791-F074-45A1-A38B-D8921817820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9792" y="2195159"/>
            <a:ext cx="2724912" cy="3611090"/>
          </a:xfrm>
          <a:prstGeom prst="rect">
            <a:avLst/>
          </a:prstGeom>
          <a:noFill/>
          <a:ln>
            <a:noFill/>
          </a:ln>
        </p:spPr>
        <p:txBody>
          <a:bodyPr lIns="182880" tIns="0" rIns="182880" bIns="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99B55A3E-07CE-4C84-9A07-5F851E483CD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162288" y="2195159"/>
            <a:ext cx="2724912" cy="3611090"/>
          </a:xfrm>
          <a:prstGeom prst="rect">
            <a:avLst/>
          </a:prstGeom>
          <a:noFill/>
          <a:ln>
            <a:noFill/>
          </a:ln>
        </p:spPr>
        <p:txBody>
          <a:bodyPr lIns="182880" tIns="0" rIns="182880" bIns="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 dirty="0"/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AEEEA091-9CC3-A01F-41BB-3B907EFC2EB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04800" y="5890779"/>
            <a:ext cx="11582400" cy="3576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 algn="ctr">
              <a:buNone/>
              <a:defRPr lang="en-US" b="1" smtClean="0">
                <a:solidFill>
                  <a:schemeClr val="tx1"/>
                </a:solidFill>
              </a:defRPr>
            </a:lvl1pPr>
            <a:lvl2pPr algn="ctr">
              <a:defRPr lang="en-US" sz="1800" smtClean="0">
                <a:solidFill>
                  <a:schemeClr val="lt1"/>
                </a:solidFill>
              </a:defRPr>
            </a:lvl2pPr>
            <a:lvl3pPr algn="ctr">
              <a:defRPr lang="en-US" sz="1800" smtClean="0">
                <a:solidFill>
                  <a:schemeClr val="lt1"/>
                </a:solidFill>
              </a:defRPr>
            </a:lvl3pPr>
            <a:lvl4pPr algn="ctr">
              <a:defRPr lang="en-US" sz="1800" smtClean="0">
                <a:solidFill>
                  <a:schemeClr val="lt1"/>
                </a:solidFill>
              </a:defRPr>
            </a:lvl4pPr>
            <a:lvl5pPr algn="ctr">
              <a:defRPr lang="en-GB" sz="180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 dirty="0"/>
              <a:t>Takeaway messag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983629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pos="7680">
          <p15:clr>
            <a:srgbClr val="FBAE40"/>
          </p15:clr>
        </p15:guide>
        <p15:guide id="3" pos="192">
          <p15:clr>
            <a:srgbClr val="FBAE40"/>
          </p15:clr>
        </p15:guide>
        <p15:guide id="4" pos="1908">
          <p15:clr>
            <a:srgbClr val="FBAE40"/>
          </p15:clr>
        </p15:guide>
        <p15:guide id="5" pos="2052">
          <p15:clr>
            <a:srgbClr val="FBAE40"/>
          </p15:clr>
        </p15:guide>
        <p15:guide id="6" pos="3768">
          <p15:clr>
            <a:srgbClr val="FBAE40"/>
          </p15:clr>
        </p15:guide>
        <p15:guide id="7" pos="3912">
          <p15:clr>
            <a:srgbClr val="FBAE40"/>
          </p15:clr>
        </p15:guide>
        <p15:guide id="8" pos="5628">
          <p15:clr>
            <a:srgbClr val="FBAE40"/>
          </p15:clr>
        </p15:guide>
        <p15:guide id="9" pos="5772">
          <p15:clr>
            <a:srgbClr val="FBAE40"/>
          </p15:clr>
        </p15:guide>
        <p15:guide id="10" pos="7488">
          <p15:clr>
            <a:srgbClr val="FBAE40"/>
          </p15:clr>
        </p15:guide>
        <p15:guide id="11" orient="horz">
          <p15:clr>
            <a:srgbClr val="FBAE40"/>
          </p15:clr>
        </p15:guide>
        <p15:guide id="12" orient="horz" pos="4320">
          <p15:clr>
            <a:srgbClr val="FBAE40"/>
          </p15:clr>
        </p15:guide>
        <p15:guide id="13" orient="horz" pos="144">
          <p15:clr>
            <a:srgbClr val="FBAE40"/>
          </p15:clr>
        </p15:guide>
        <p15:guide id="14" orient="horz" pos="3936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Four photo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538390-44A4-453D-972A-27D940A685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228601"/>
            <a:ext cx="11582400" cy="777240"/>
          </a:xfrm>
        </p:spPr>
        <p:txBody>
          <a:bodyPr lIns="0" tIns="0" rIns="0" bIns="0"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EF6409-318C-437F-82C8-F0D7E1BD65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128016" rIns="0" bIns="0"/>
          <a:lstStyle/>
          <a:p>
            <a:pPr algn="r"/>
            <a:r>
              <a:rPr lang="en-GB"/>
              <a:t>Classification: INTERNAL USE ONLY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D2DB9EE-AC50-4E3C-AF58-A0032DF3B8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7695D00A-BA34-4D39-8C84-2534822D643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9E4E1FB-0AC6-4EF6-85D7-E7C69687BA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4074292"/>
            <a:ext cx="2724912" cy="2161391"/>
          </a:xfrm>
          <a:prstGeom prst="rect">
            <a:avLst/>
          </a:prstGeom>
          <a:noFill/>
          <a:ln>
            <a:noFill/>
          </a:ln>
          <a:effectLst>
            <a:innerShdw dist="50800" dir="16200000">
              <a:schemeClr val="bg2"/>
            </a:innerShdw>
          </a:effec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AC99A214-20B4-4DF7-AAB5-9181D69E10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66440" y="4074292"/>
            <a:ext cx="2724912" cy="2161391"/>
          </a:xfrm>
          <a:prstGeom prst="rect">
            <a:avLst/>
          </a:prstGeom>
          <a:noFill/>
          <a:ln>
            <a:noFill/>
          </a:ln>
          <a:effectLst>
            <a:innerShdw dist="50800" dir="16200000">
              <a:schemeClr val="bg2"/>
            </a:innerShdw>
          </a:effec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 dirty="0"/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DFDF62F6-C1BE-4C72-9773-827D4E03C85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28080" y="4074292"/>
            <a:ext cx="2724912" cy="2161391"/>
          </a:xfrm>
          <a:prstGeom prst="rect">
            <a:avLst/>
          </a:prstGeom>
          <a:noFill/>
          <a:ln>
            <a:noFill/>
          </a:ln>
          <a:effectLst>
            <a:innerShdw dist="50800" dir="16200000">
              <a:schemeClr val="bg2"/>
            </a:innerShdw>
          </a:effec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 dirty="0"/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F88659B2-C6E2-44B4-85F3-FA63D6CCA51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162288" y="4074292"/>
            <a:ext cx="2724912" cy="2161391"/>
          </a:xfrm>
          <a:prstGeom prst="rect">
            <a:avLst/>
          </a:prstGeom>
          <a:noFill/>
          <a:ln>
            <a:noFill/>
          </a:ln>
          <a:effectLst>
            <a:innerShdw dist="50800" dir="16200000">
              <a:schemeClr val="bg2"/>
            </a:innerShdw>
          </a:effec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F604B635-574C-4560-8CBC-23D1E1CFD78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04958" y="1581958"/>
            <a:ext cx="2724912" cy="2267712"/>
          </a:xfrm>
          <a:prstGeom prst="roundRect">
            <a:avLst>
              <a:gd name="adj" fmla="val 3366"/>
            </a:avLst>
          </a:prstGeom>
          <a:pattFill prst="ltVert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19050">
            <a:solidFill>
              <a:schemeClr val="bg2"/>
            </a:solidFill>
          </a:ln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ru-RU"/>
              <a:t>Вставка рисунка</a:t>
            </a:r>
            <a:endParaRPr lang="en-GB" dirty="0"/>
          </a:p>
        </p:txBody>
      </p:sp>
      <p:sp>
        <p:nvSpPr>
          <p:cNvPr id="26" name="Picture Placeholder 24">
            <a:extLst>
              <a:ext uri="{FF2B5EF4-FFF2-40B4-BE49-F238E27FC236}">
                <a16:creationId xmlns:a16="http://schemas.microsoft.com/office/drawing/2014/main" id="{03138E83-FCD1-4F20-823B-0DE98D2320F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66598" y="1581958"/>
            <a:ext cx="2724912" cy="2267712"/>
          </a:xfrm>
          <a:prstGeom prst="roundRect">
            <a:avLst>
              <a:gd name="adj" fmla="val 3856"/>
            </a:avLst>
          </a:prstGeom>
          <a:pattFill prst="ltVert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19050">
            <a:solidFill>
              <a:schemeClr val="tx2"/>
            </a:solidFill>
          </a:ln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ru-RU"/>
              <a:t>Вставка рисунка</a:t>
            </a:r>
            <a:endParaRPr lang="en-GB" dirty="0"/>
          </a:p>
        </p:txBody>
      </p:sp>
      <p:sp>
        <p:nvSpPr>
          <p:cNvPr id="27" name="Picture Placeholder 24">
            <a:extLst>
              <a:ext uri="{FF2B5EF4-FFF2-40B4-BE49-F238E27FC236}">
                <a16:creationId xmlns:a16="http://schemas.microsoft.com/office/drawing/2014/main" id="{DBA040A6-2F28-4BC3-A28A-CB4258CAB683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28238" y="1581958"/>
            <a:ext cx="2724912" cy="2267712"/>
          </a:xfrm>
          <a:prstGeom prst="roundRect">
            <a:avLst>
              <a:gd name="adj" fmla="val 4160"/>
            </a:avLst>
          </a:prstGeom>
          <a:pattFill prst="ltVert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19050">
            <a:solidFill>
              <a:schemeClr val="accent1"/>
            </a:solidFill>
          </a:ln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ru-RU"/>
              <a:t>Вставка рисунка</a:t>
            </a:r>
            <a:endParaRPr lang="en-GB" dirty="0"/>
          </a:p>
        </p:txBody>
      </p:sp>
      <p:sp>
        <p:nvSpPr>
          <p:cNvPr id="28" name="Picture Placeholder 24">
            <a:extLst>
              <a:ext uri="{FF2B5EF4-FFF2-40B4-BE49-F238E27FC236}">
                <a16:creationId xmlns:a16="http://schemas.microsoft.com/office/drawing/2014/main" id="{31EE2EFA-6DFD-43D7-83E4-0C4684A24D4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162288" y="1581958"/>
            <a:ext cx="2724912" cy="2267712"/>
          </a:xfrm>
          <a:prstGeom prst="roundRect">
            <a:avLst>
              <a:gd name="adj" fmla="val 3156"/>
            </a:avLst>
          </a:prstGeom>
          <a:pattFill prst="ltVert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19050">
            <a:solidFill>
              <a:schemeClr val="accent2"/>
            </a:solidFill>
          </a:ln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ru-RU"/>
              <a:t>Вставка рисунка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43080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pos="7680">
          <p15:clr>
            <a:srgbClr val="FBAE40"/>
          </p15:clr>
        </p15:guide>
        <p15:guide id="3" pos="192">
          <p15:clr>
            <a:srgbClr val="FBAE40"/>
          </p15:clr>
        </p15:guide>
        <p15:guide id="4" pos="1908">
          <p15:clr>
            <a:srgbClr val="FBAE40"/>
          </p15:clr>
        </p15:guide>
        <p15:guide id="5" pos="2052">
          <p15:clr>
            <a:srgbClr val="FBAE40"/>
          </p15:clr>
        </p15:guide>
        <p15:guide id="6" pos="3768">
          <p15:clr>
            <a:srgbClr val="FBAE40"/>
          </p15:clr>
        </p15:guide>
        <p15:guide id="7" pos="3912">
          <p15:clr>
            <a:srgbClr val="FBAE40"/>
          </p15:clr>
        </p15:guide>
        <p15:guide id="8" pos="5628">
          <p15:clr>
            <a:srgbClr val="FBAE40"/>
          </p15:clr>
        </p15:guide>
        <p15:guide id="9" pos="5772">
          <p15:clr>
            <a:srgbClr val="FBAE40"/>
          </p15:clr>
        </p15:guide>
        <p15:guide id="10" pos="7488">
          <p15:clr>
            <a:srgbClr val="FBAE40"/>
          </p15:clr>
        </p15:guide>
        <p15:guide id="11" orient="horz">
          <p15:clr>
            <a:srgbClr val="FBAE40"/>
          </p15:clr>
        </p15:guide>
        <p15:guide id="12" orient="horz" pos="4320">
          <p15:clr>
            <a:srgbClr val="FBAE40"/>
          </p15:clr>
        </p15:guide>
        <p15:guide id="13" orient="horz" pos="144">
          <p15:clr>
            <a:srgbClr val="FBAE40"/>
          </p15:clr>
        </p15:guide>
        <p15:guide id="14" orient="horz" pos="3936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Photo and four box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AF4F0BBE-02F8-48D8-A993-E6EA225EBA4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88952" cy="5312664"/>
          </a:xfrm>
          <a:prstGeom prst="rect">
            <a:avLst/>
          </a:prstGeom>
          <a:pattFill prst="ltVert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3538390-44A4-453D-972A-27D940A685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228601"/>
            <a:ext cx="11582400" cy="777240"/>
          </a:xfr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EF6409-318C-437F-82C8-F0D7E1BD65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128016" rIns="0" bIns="0"/>
          <a:lstStyle/>
          <a:p>
            <a:pPr algn="r"/>
            <a:r>
              <a:rPr lang="en-GB"/>
              <a:t>Classification: INTERNAL USE ONLY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D2DB9EE-AC50-4E3C-AF58-A0032DF3B8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7695D00A-BA34-4D39-8C84-2534822D643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9E4E1FB-0AC6-4EF6-85D7-E7C69687BA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3668633"/>
            <a:ext cx="2724912" cy="2253077"/>
          </a:xfrm>
          <a:prstGeom prst="roundRect">
            <a:avLst>
              <a:gd name="adj" fmla="val 4853"/>
            </a:avLst>
          </a:prstGeom>
          <a:solidFill>
            <a:schemeClr val="bg1"/>
          </a:solidFill>
          <a:ln w="9525">
            <a:solidFill>
              <a:schemeClr val="tx2"/>
            </a:solidFill>
          </a:ln>
        </p:spPr>
        <p:txBody>
          <a:bodyPr lIns="137160" tIns="137160" rIns="137160" bIns="13716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72599A3-164A-44BE-AEF5-BDF02C58C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57296" y="3668633"/>
            <a:ext cx="2724912" cy="2253077"/>
          </a:xfrm>
          <a:prstGeom prst="roundRect">
            <a:avLst>
              <a:gd name="adj" fmla="val 3840"/>
            </a:avLst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txBody>
          <a:bodyPr lIns="137160" tIns="137160" rIns="137160" bIns="13716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8D3A791-F074-45A1-A38B-D8921817820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9792" y="3668633"/>
            <a:ext cx="2724912" cy="2253077"/>
          </a:xfrm>
          <a:prstGeom prst="roundRect">
            <a:avLst>
              <a:gd name="adj" fmla="val 3840"/>
            </a:avLst>
          </a:prstGeom>
          <a:solidFill>
            <a:schemeClr val="bg1"/>
          </a:solidFill>
          <a:ln w="9525">
            <a:solidFill>
              <a:schemeClr val="bg2"/>
            </a:solidFill>
          </a:ln>
        </p:spPr>
        <p:txBody>
          <a:bodyPr lIns="137160" tIns="137160" rIns="137160" bIns="13716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99B55A3E-07CE-4C84-9A07-5F851E483CD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162288" y="3668633"/>
            <a:ext cx="2724912" cy="2253077"/>
          </a:xfrm>
          <a:prstGeom prst="roundRect">
            <a:avLst>
              <a:gd name="adj" fmla="val 3840"/>
            </a:avLst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txBody>
          <a:bodyPr lIns="137160" tIns="137160" rIns="137160" bIns="13716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4516AE9-B899-481A-984C-65473B6EFE5C}"/>
              </a:ext>
            </a:extLst>
          </p:cNvPr>
          <p:cNvCxnSpPr>
            <a:cxnSpLocks/>
          </p:cNvCxnSpPr>
          <p:nvPr/>
        </p:nvCxnSpPr>
        <p:spPr>
          <a:xfrm>
            <a:off x="304798" y="6435990"/>
            <a:ext cx="2350008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E443F4D5-6925-4545-90E4-3EE47B90289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04800" y="1592263"/>
            <a:ext cx="5676900" cy="932816"/>
          </a:xfrm>
        </p:spPr>
        <p:txBody>
          <a:bodyPr lIns="0" tIns="0" rIns="0" bIns="0"/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  <a:lvl2pPr>
              <a:defRPr sz="2200" b="1">
                <a:solidFill>
                  <a:srgbClr val="57B524"/>
                </a:solidFill>
              </a:defRPr>
            </a:lvl2pPr>
            <a:lvl3pPr>
              <a:defRPr sz="2200" b="1">
                <a:solidFill>
                  <a:srgbClr val="57B524"/>
                </a:solidFill>
              </a:defRPr>
            </a:lvl3pPr>
            <a:lvl4pPr>
              <a:defRPr sz="2200" b="1">
                <a:solidFill>
                  <a:srgbClr val="57B524"/>
                </a:solidFill>
              </a:defRPr>
            </a:lvl4pPr>
            <a:lvl5pPr>
              <a:defRPr sz="2200" b="1">
                <a:solidFill>
                  <a:srgbClr val="57B524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0853072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pos="7680">
          <p15:clr>
            <a:srgbClr val="FBAE40"/>
          </p15:clr>
        </p15:guide>
        <p15:guide id="3" pos="192">
          <p15:clr>
            <a:srgbClr val="FBAE40"/>
          </p15:clr>
        </p15:guide>
        <p15:guide id="4" pos="1908">
          <p15:clr>
            <a:srgbClr val="FBAE40"/>
          </p15:clr>
        </p15:guide>
        <p15:guide id="5" pos="2052">
          <p15:clr>
            <a:srgbClr val="FBAE40"/>
          </p15:clr>
        </p15:guide>
        <p15:guide id="6" pos="3768">
          <p15:clr>
            <a:srgbClr val="FBAE40"/>
          </p15:clr>
        </p15:guide>
        <p15:guide id="7" pos="3912">
          <p15:clr>
            <a:srgbClr val="FBAE40"/>
          </p15:clr>
        </p15:guide>
        <p15:guide id="8" pos="5628">
          <p15:clr>
            <a:srgbClr val="FBAE40"/>
          </p15:clr>
        </p15:guide>
        <p15:guide id="9" pos="5772">
          <p15:clr>
            <a:srgbClr val="FBAE40"/>
          </p15:clr>
        </p15:guide>
        <p15:guide id="10" pos="7488">
          <p15:clr>
            <a:srgbClr val="FBAE40"/>
          </p15:clr>
        </p15:guide>
        <p15:guide id="11" orient="horz">
          <p15:clr>
            <a:srgbClr val="FBAE40"/>
          </p15:clr>
        </p15:guide>
        <p15:guide id="12" orient="horz" pos="4320">
          <p15:clr>
            <a:srgbClr val="FBAE40"/>
          </p15:clr>
        </p15:guide>
        <p15:guide id="13" orient="horz" pos="144">
          <p15:clr>
            <a:srgbClr val="FBAE40"/>
          </p15:clr>
        </p15:guide>
        <p15:guide id="14" orient="horz" pos="3936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har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F0DD941-2566-4315-B0BE-D5D23DEE62EE}"/>
              </a:ext>
            </a:extLst>
          </p:cNvPr>
          <p:cNvSpPr/>
          <p:nvPr userDrawn="1"/>
        </p:nvSpPr>
        <p:spPr>
          <a:xfrm flipH="1">
            <a:off x="0" y="0"/>
            <a:ext cx="8001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A89266-A7AE-4A04-9053-99DF15DDD3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799" y="228601"/>
            <a:ext cx="7172446" cy="777240"/>
          </a:xfrm>
        </p:spPr>
        <p:txBody>
          <a:bodyPr lIns="0" tIns="0" rIns="0" bIns="0"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E740F1B-2580-4D0B-93FE-394C001090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128016" rIns="0" bIns="0"/>
          <a:lstStyle/>
          <a:p>
            <a:pPr algn="r"/>
            <a:r>
              <a:rPr lang="en-GB"/>
              <a:t>Classification: INTERNAL USE ONLY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04D456D-2C93-4A05-95ED-1C4681C51E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7695D00A-BA34-4D39-8C84-2534822D643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Chart Placeholder 13">
            <a:extLst>
              <a:ext uri="{FF2B5EF4-FFF2-40B4-BE49-F238E27FC236}">
                <a16:creationId xmlns:a16="http://schemas.microsoft.com/office/drawing/2014/main" id="{3EDCD88A-5472-496F-BCE8-F017E582B951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304798" y="1592262"/>
            <a:ext cx="7172448" cy="4656137"/>
          </a:xfrm>
          <a:pattFill prst="ltVert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0" tIns="0" rIns="0" bIns="0"/>
          <a:lstStyle/>
          <a:p>
            <a:r>
              <a:rPr lang="ru-RU"/>
              <a:t>Вставка диаграммы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47D3A1C-68B8-AC56-FE7B-E203BBAF5F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305798" y="609601"/>
            <a:ext cx="3581402" cy="2473124"/>
          </a:xfrm>
        </p:spPr>
        <p:txBody>
          <a:bodyPr lIns="0" tIns="0" rIns="0" bIns="0"/>
          <a:lstStyle>
            <a:lvl1pPr>
              <a:defRPr sz="2200" b="1"/>
            </a:lvl1pPr>
            <a:lvl2pPr>
              <a:defRPr sz="2200" b="1"/>
            </a:lvl2pPr>
            <a:lvl3pPr>
              <a:defRPr sz="2200" b="1"/>
            </a:lvl3pPr>
            <a:lvl4pPr>
              <a:defRPr sz="2200" b="1"/>
            </a:lvl4pPr>
            <a:lvl5pPr>
              <a:defRPr sz="2200" b="1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420338C6-0A80-919A-C672-4F8376E8B3E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07644" y="3352800"/>
            <a:ext cx="3579556" cy="1218321"/>
          </a:xfrm>
        </p:spPr>
        <p:txBody>
          <a:bodyPr/>
          <a:lstStyle>
            <a:lvl1pPr marL="0" indent="0">
              <a:buNone/>
              <a:defRPr sz="36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85%</a:t>
            </a:r>
            <a:br>
              <a:rPr lang="en-US" dirty="0"/>
            </a:br>
            <a:endParaRPr lang="en-US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4D074C5-4E9B-D0F3-1F7C-7805A8B6CE7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07644" y="4841197"/>
            <a:ext cx="3579556" cy="1407203"/>
          </a:xfrm>
        </p:spPr>
        <p:txBody>
          <a:bodyPr/>
          <a:lstStyle>
            <a:lvl1pPr marL="0" indent="0">
              <a:buNone/>
              <a:defRPr sz="36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85%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64586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ntent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6EA080-BCD5-D0FB-225E-D53C8325B4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0C578D-0B00-8A06-BEC5-9EC474F8734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GB"/>
              <a:t>Classification: INTERNAL USE ONLY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D14F0E7-23CD-797B-A82F-DA01C67866B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95D00A-BA34-4D39-8C84-2534822D643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Picture Placeholder 14">
            <a:extLst>
              <a:ext uri="{FF2B5EF4-FFF2-40B4-BE49-F238E27FC236}">
                <a16:creationId xmlns:a16="http://schemas.microsoft.com/office/drawing/2014/main" id="{68F296C5-FDA8-C0B9-ABD0-E177BBEAE3F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17502" y="1589248"/>
            <a:ext cx="7058658" cy="4659152"/>
          </a:xfrm>
          <a:prstGeom prst="roundRect">
            <a:avLst>
              <a:gd name="adj" fmla="val 3976"/>
            </a:avLst>
          </a:prstGeom>
          <a:pattFill prst="ltVert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ru-RU"/>
              <a:t>Вставка рисунка</a:t>
            </a:r>
            <a:endParaRPr lang="en-US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4D450127-2256-7C8D-E060-AAD69166B68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772400" y="2849879"/>
            <a:ext cx="4114800" cy="339852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8C65C5B2-E435-B229-59F8-5EC119E9390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65320" y="4221481"/>
            <a:ext cx="2666090" cy="1798319"/>
          </a:xfrm>
        </p:spPr>
        <p:txBody>
          <a:bodyPr/>
          <a:lstStyle>
            <a:lvl1pPr algn="r">
              <a:defRPr sz="8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85%</a:t>
            </a:r>
            <a:br>
              <a:rPr lang="en-US" dirty="0"/>
            </a:b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3A1AB7C-369C-8B06-B1DF-BB79CC8935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772400" y="1589249"/>
            <a:ext cx="4114800" cy="1013790"/>
          </a:xfrm>
        </p:spPr>
        <p:txBody>
          <a:bodyPr/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Key message</a:t>
            </a:r>
          </a:p>
        </p:txBody>
      </p:sp>
    </p:spTree>
    <p:extLst>
      <p:ext uri="{BB962C8B-B14F-4D97-AF65-F5344CB8AC3E}">
        <p14:creationId xmlns:p14="http://schemas.microsoft.com/office/powerpoint/2010/main" val="108101043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hree items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95D90AB5-E2B8-CC54-56D0-A30A6F3D068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251200" y="1798321"/>
            <a:ext cx="3731490" cy="1335087"/>
          </a:xfrm>
          <a:prstGeom prst="roundRect">
            <a:avLst>
              <a:gd name="adj" fmla="val 8819"/>
            </a:avLst>
          </a:prstGeom>
          <a:solidFill>
            <a:schemeClr val="bg1">
              <a:lumMod val="95000"/>
            </a:schemeClr>
          </a:solidFill>
        </p:spPr>
        <p:txBody>
          <a:bodyPr lIns="91440" tIns="91440" rIns="91440" bIns="91440"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93601B45-11A0-BA84-C037-A191864634F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251200" y="3259774"/>
            <a:ext cx="3731490" cy="1335087"/>
          </a:xfrm>
          <a:prstGeom prst="roundRect">
            <a:avLst>
              <a:gd name="adj" fmla="val 8819"/>
            </a:avLst>
          </a:prstGeom>
          <a:solidFill>
            <a:schemeClr val="bg1">
              <a:lumMod val="95000"/>
            </a:schemeClr>
          </a:solidFill>
        </p:spPr>
        <p:txBody>
          <a:bodyPr lIns="91440" tIns="91440" rIns="91440" bIns="91440"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F8DC61DF-5368-02D3-C97D-7345B205967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251200" y="4720274"/>
            <a:ext cx="3731490" cy="1335087"/>
          </a:xfrm>
          <a:prstGeom prst="roundRect">
            <a:avLst>
              <a:gd name="adj" fmla="val 8819"/>
            </a:avLst>
          </a:prstGeom>
          <a:solidFill>
            <a:schemeClr val="bg1">
              <a:lumMod val="95000"/>
            </a:schemeClr>
          </a:solidFill>
        </p:spPr>
        <p:txBody>
          <a:bodyPr lIns="91440" tIns="91440" rIns="91440" bIns="91440"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A96F45-0303-C4EE-48B2-D6E59A42A2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F014B6-BE37-DF85-9795-CA81FF64750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GB"/>
              <a:t>Classification: INTERNAL USE ONLY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90720D4-59FF-0A8D-AE69-001B9C4AEEC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95D00A-BA34-4D39-8C84-2534822D643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Picture Placeholder 22">
            <a:extLst>
              <a:ext uri="{FF2B5EF4-FFF2-40B4-BE49-F238E27FC236}">
                <a16:creationId xmlns:a16="http://schemas.microsoft.com/office/drawing/2014/main" id="{F5BFED09-715C-50ED-72EB-C5C43B4635D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081520" y="1798320"/>
            <a:ext cx="4805680" cy="4267200"/>
          </a:xfrm>
          <a:prstGeom prst="roundRect">
            <a:avLst>
              <a:gd name="adj" fmla="val 2825"/>
            </a:avLst>
          </a:prstGeom>
          <a:pattFill prst="ltVert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ru-RU"/>
              <a:t>Вставка рисунка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C21E77F6-9199-3346-2302-6197BA672BD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04800" y="1798321"/>
            <a:ext cx="2844800" cy="1335087"/>
          </a:xfrm>
          <a:prstGeom prst="roundRect">
            <a:avLst>
              <a:gd name="adj" fmla="val 8819"/>
            </a:avLst>
          </a:prstGeom>
          <a:solidFill>
            <a:srgbClr val="264600"/>
          </a:solidFill>
        </p:spPr>
        <p:txBody>
          <a:bodyPr lIns="91440" tIns="91440" rIns="91440" bIns="91440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E7FE3B57-21EE-6898-E28A-FEB7422D317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04800" y="3259774"/>
            <a:ext cx="2844800" cy="1335087"/>
          </a:xfrm>
          <a:prstGeom prst="roundRect">
            <a:avLst>
              <a:gd name="adj" fmla="val 8819"/>
            </a:avLst>
          </a:prstGeom>
          <a:solidFill>
            <a:srgbClr val="264600"/>
          </a:solidFill>
        </p:spPr>
        <p:txBody>
          <a:bodyPr lIns="91440" tIns="91440" rIns="91440" bIns="91440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EF709A7A-A838-62E7-6047-92609CE63E6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04800" y="4720274"/>
            <a:ext cx="2844800" cy="1335087"/>
          </a:xfrm>
          <a:prstGeom prst="roundRect">
            <a:avLst>
              <a:gd name="adj" fmla="val 8819"/>
            </a:avLst>
          </a:prstGeom>
          <a:solidFill>
            <a:srgbClr val="264600"/>
          </a:solidFill>
        </p:spPr>
        <p:txBody>
          <a:bodyPr lIns="91440" tIns="91440" rIns="91440" bIns="91440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710230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ontent with multiple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36549C-317C-9B20-FFC7-1DAB3984C6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228601"/>
            <a:ext cx="5010912" cy="77724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E3D72C6-9A1D-A927-A519-F059E089D34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GB"/>
              <a:t>Classification: INTERNAL USE ONLY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11604A-58FC-6406-3713-45BF1692016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95D00A-BA34-4D39-8C84-2534822D643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D2052C00-4D6E-08B8-D977-8C73AC75680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2619259"/>
            <a:ext cx="2286000" cy="3629140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 dirty="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C5DAF4D3-E1C6-BD67-FD2A-874256974CB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29712" y="2619259"/>
            <a:ext cx="2286000" cy="3629140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DCA55133-5734-1760-99EB-8E45FDA8C6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16461" y="3998975"/>
            <a:ext cx="1819656" cy="2249424"/>
          </a:xfrm>
          <a:prstGeom prst="roundRect">
            <a:avLst>
              <a:gd name="adj" fmla="val 5082"/>
            </a:avLst>
          </a:prstGeom>
          <a:solidFill>
            <a:schemeClr val="accent5"/>
          </a:solidFill>
        </p:spPr>
        <p:txBody>
          <a:bodyPr lIns="137160" tIns="137160" rIns="137160" bIns="137160"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58%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7BE38F7-5335-49BE-47EB-EEFE0383A13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067544" y="228601"/>
            <a:ext cx="1819656" cy="2002536"/>
          </a:xfrm>
          <a:prstGeom prst="roundRect">
            <a:avLst>
              <a:gd name="adj" fmla="val 4936"/>
            </a:avLst>
          </a:prstGeom>
          <a:solidFill>
            <a:schemeClr val="accent4"/>
          </a:solidFill>
        </p:spPr>
        <p:txBody>
          <a:bodyPr lIns="137160" tIns="137160" rIns="137160" bIns="137160"/>
          <a:lstStyle>
            <a:lvl1pPr>
              <a:defRPr sz="3600" b="1">
                <a:solidFill>
                  <a:schemeClr val="bg1"/>
                </a:solidFill>
              </a:defRPr>
            </a:lvl1pPr>
            <a:lvl2pPr>
              <a:defRPr sz="3600" b="1">
                <a:solidFill>
                  <a:srgbClr val="334C56"/>
                </a:solidFill>
              </a:defRPr>
            </a:lvl2pPr>
            <a:lvl3pPr>
              <a:defRPr sz="3600" b="1">
                <a:solidFill>
                  <a:srgbClr val="334C56"/>
                </a:solidFill>
              </a:defRPr>
            </a:lvl3pPr>
            <a:lvl4pPr>
              <a:defRPr sz="3600" b="1">
                <a:solidFill>
                  <a:srgbClr val="334C56"/>
                </a:solidFill>
              </a:defRPr>
            </a:lvl4pPr>
            <a:lvl5pPr>
              <a:defRPr sz="3600" b="1">
                <a:solidFill>
                  <a:srgbClr val="334C56"/>
                </a:solidFill>
              </a:defRPr>
            </a:lvl5pPr>
          </a:lstStyle>
          <a:p>
            <a:pPr lvl="0"/>
            <a:r>
              <a:rPr lang="en-US" dirty="0"/>
              <a:t>69%</a:t>
            </a:r>
            <a:endParaRPr lang="en-GB" dirty="0"/>
          </a:p>
        </p:txBody>
      </p:sp>
      <p:sp>
        <p:nvSpPr>
          <p:cNvPr id="9" name="Picture Placeholder 17">
            <a:extLst>
              <a:ext uri="{FF2B5EF4-FFF2-40B4-BE49-F238E27FC236}">
                <a16:creationId xmlns:a16="http://schemas.microsoft.com/office/drawing/2014/main" id="{4506C89A-0989-5052-0E51-F571AFA275C5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316457" y="819027"/>
            <a:ext cx="1819657" cy="3082413"/>
          </a:xfrm>
          <a:prstGeom prst="roundRect">
            <a:avLst>
              <a:gd name="adj" fmla="val 4663"/>
            </a:avLst>
          </a:prstGeom>
          <a:pattFill prst="ltVert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10" name="Picture Placeholder 18">
            <a:extLst>
              <a:ext uri="{FF2B5EF4-FFF2-40B4-BE49-F238E27FC236}">
                <a16:creationId xmlns:a16="http://schemas.microsoft.com/office/drawing/2014/main" id="{7CBE9CDA-FCA0-BA8B-8CD5-DB0BD4742CA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233661" y="3165986"/>
            <a:ext cx="1736345" cy="3082413"/>
          </a:xfrm>
          <a:prstGeom prst="roundRect">
            <a:avLst>
              <a:gd name="adj" fmla="val 5110"/>
            </a:avLst>
          </a:prstGeom>
          <a:pattFill prst="ltVert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11" name="Picture Placeholder 19">
            <a:extLst>
              <a:ext uri="{FF2B5EF4-FFF2-40B4-BE49-F238E27FC236}">
                <a16:creationId xmlns:a16="http://schemas.microsoft.com/office/drawing/2014/main" id="{0C7E3893-D63E-B41D-5045-8454AA09756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33661" y="228600"/>
            <a:ext cx="1736344" cy="2820204"/>
          </a:xfrm>
          <a:prstGeom prst="roundRect">
            <a:avLst>
              <a:gd name="adj" fmla="val 5403"/>
            </a:avLst>
          </a:prstGeom>
          <a:pattFill prst="ltVert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12" name="Picture Placeholder 20">
            <a:extLst>
              <a:ext uri="{FF2B5EF4-FFF2-40B4-BE49-F238E27FC236}">
                <a16:creationId xmlns:a16="http://schemas.microsoft.com/office/drawing/2014/main" id="{FC203ADF-407A-8AE4-6C87-DE923971FFD5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10067544" y="2328672"/>
            <a:ext cx="1819656" cy="2882426"/>
          </a:xfrm>
          <a:prstGeom prst="roundRect">
            <a:avLst>
              <a:gd name="adj" fmla="val 5919"/>
            </a:avLst>
          </a:prstGeom>
          <a:pattFill prst="ltVert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r>
              <a:rPr lang="ru-RU"/>
              <a:t>Вставка рисун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818352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Highlights with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3A04DC0-FE38-0A58-7775-97841A9382AE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B020DB67-368D-F2A1-64DA-91ADDB9C753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4800" y="2236609"/>
            <a:ext cx="2816352" cy="4011789"/>
          </a:xfrm>
          <a:prstGeom prst="roundRect">
            <a:avLst>
              <a:gd name="adj" fmla="val 4308"/>
            </a:avLst>
          </a:prstGeom>
          <a:solidFill>
            <a:schemeClr val="tx2"/>
          </a:solidFill>
          <a:ln>
            <a:noFill/>
          </a:ln>
          <a:effectLst/>
        </p:spPr>
        <p:txBody>
          <a:bodyPr lIns="182880" tIns="109728" rIns="182880" bIns="0" anchor="t"/>
          <a:lstStyle>
            <a:lvl1pPr>
              <a:defRPr sz="2200" b="1">
                <a:solidFill>
                  <a:schemeClr val="tx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E353DAA0-0958-C4F1-7795-67CCD672E13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48832" y="2236609"/>
            <a:ext cx="2816352" cy="4011789"/>
          </a:xfrm>
          <a:prstGeom prst="roundRect">
            <a:avLst>
              <a:gd name="adj" fmla="val 4308"/>
            </a:avLst>
          </a:prstGeom>
          <a:solidFill>
            <a:srgbClr val="264600"/>
          </a:solidFill>
          <a:ln>
            <a:noFill/>
          </a:ln>
          <a:effectLst/>
        </p:spPr>
        <p:txBody>
          <a:bodyPr lIns="182880" tIns="109728" rIns="182880" bIns="0" anchor="t"/>
          <a:lstStyle>
            <a:lvl1pPr>
              <a:defRPr sz="2200" b="1">
                <a:solidFill>
                  <a:schemeClr val="bg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8" name="Picture Placeholder 15">
            <a:extLst>
              <a:ext uri="{FF2B5EF4-FFF2-40B4-BE49-F238E27FC236}">
                <a16:creationId xmlns:a16="http://schemas.microsoft.com/office/drawing/2014/main" id="{9C08512E-F8B7-AE2D-0E6A-356C4CFE16B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226816" y="2236609"/>
            <a:ext cx="2816352" cy="4011791"/>
          </a:xfrm>
          <a:prstGeom prst="roundRect">
            <a:avLst>
              <a:gd name="adj" fmla="val 4311"/>
            </a:avLst>
          </a:prstGeom>
          <a:pattFill prst="ltVert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/>
            </a:lvl1pPr>
          </a:lstStyle>
          <a:p>
            <a:pPr lvl="0"/>
            <a:r>
              <a:rPr lang="ru-RU"/>
              <a:t>Вставка рисунка</a:t>
            </a:r>
            <a:endParaRPr lang="en-US"/>
          </a:p>
        </p:txBody>
      </p:sp>
      <p:sp>
        <p:nvSpPr>
          <p:cNvPr id="9" name="Picture Placeholder 15">
            <a:extLst>
              <a:ext uri="{FF2B5EF4-FFF2-40B4-BE49-F238E27FC236}">
                <a16:creationId xmlns:a16="http://schemas.microsoft.com/office/drawing/2014/main" id="{153A80C3-B1C6-F455-1AB0-66075E7F6ABB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070848" y="2236609"/>
            <a:ext cx="2816352" cy="4011791"/>
          </a:xfrm>
          <a:prstGeom prst="roundRect">
            <a:avLst>
              <a:gd name="adj" fmla="val 4311"/>
            </a:avLst>
          </a:prstGeom>
          <a:pattFill prst="ltVert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/>
            </a:lvl1pPr>
          </a:lstStyle>
          <a:p>
            <a:pPr lvl="0"/>
            <a:r>
              <a:rPr lang="ru-RU"/>
              <a:t>Вставка рисунка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4DCAB-02B5-9C53-B692-F3020931D1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718FA79-2A2A-8919-F3E3-6506115F03F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GB"/>
              <a:t>Classification: INTERNAL USE ONLY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23CA14-C1A4-3A69-257D-5A592CF31F4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95D00A-BA34-4D39-8C84-2534822D643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246844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8_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D2B0BBC-A052-D0B8-1B69-AD2342CBA69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942523" y="228602"/>
            <a:ext cx="3477308" cy="6261651"/>
          </a:xfrm>
          <a:custGeom>
            <a:avLst/>
            <a:gdLst>
              <a:gd name="connsiteX0" fmla="*/ 0 w 3477308"/>
              <a:gd name="connsiteY0" fmla="*/ 0 h 6261651"/>
              <a:gd name="connsiteX1" fmla="*/ 3472779 w 3477308"/>
              <a:gd name="connsiteY1" fmla="*/ 0 h 6261651"/>
              <a:gd name="connsiteX2" fmla="*/ 3472779 w 3477308"/>
              <a:gd name="connsiteY2" fmla="*/ 3478695 h 6261651"/>
              <a:gd name="connsiteX3" fmla="*/ 2087217 w 3477308"/>
              <a:gd name="connsiteY3" fmla="*/ 3478695 h 6261651"/>
              <a:gd name="connsiteX4" fmla="*/ 3477308 w 3477308"/>
              <a:gd name="connsiteY4" fmla="*/ 5513394 h 6261651"/>
              <a:gd name="connsiteX5" fmla="*/ 3130826 w 3477308"/>
              <a:gd name="connsiteY5" fmla="*/ 6261651 h 6261651"/>
              <a:gd name="connsiteX6" fmla="*/ 0 w 3477308"/>
              <a:gd name="connsiteY6" fmla="*/ 2571094 h 6261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77308" h="6261651">
                <a:moveTo>
                  <a:pt x="0" y="0"/>
                </a:moveTo>
                <a:lnTo>
                  <a:pt x="3472779" y="0"/>
                </a:lnTo>
                <a:lnTo>
                  <a:pt x="3472779" y="3478695"/>
                </a:lnTo>
                <a:lnTo>
                  <a:pt x="2087217" y="3478695"/>
                </a:lnTo>
                <a:cubicBezTo>
                  <a:pt x="2087217" y="4247843"/>
                  <a:pt x="2630953" y="5194377"/>
                  <a:pt x="3477308" y="5513394"/>
                </a:cubicBezTo>
                <a:lnTo>
                  <a:pt x="3130826" y="6261651"/>
                </a:lnTo>
                <a:cubicBezTo>
                  <a:pt x="1303826" y="5900561"/>
                  <a:pt x="0" y="4555356"/>
                  <a:pt x="0" y="2571094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CECDC36-F747-4324-ADEB-BC50AAC668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03912" y="228602"/>
            <a:ext cx="6583288" cy="3488430"/>
          </a:xfrm>
        </p:spPr>
        <p:txBody>
          <a:bodyPr lIns="0" tIns="0" rIns="0" bIns="0" anchor="ctr"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dd quote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D9B2B0F-CE10-4478-8CF2-AFED37C43E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ln>
            <a:solidFill>
              <a:schemeClr val="bg1"/>
            </a:solidFill>
          </a:ln>
        </p:spPr>
        <p:txBody>
          <a:bodyPr lIns="0" tIns="128016" rIns="0" b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r>
              <a:rPr lang="en-GB"/>
              <a:t>Classification: INTERNAL USE ONLY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C8EF512-0A39-4B34-AAC4-9DF36B7EA8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695D00A-BA34-4D39-8C84-2534822D643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4694DF6-2F12-8289-9A5F-659D535DAE3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207791" y="563586"/>
            <a:ext cx="2219066" cy="3995916"/>
          </a:xfrm>
          <a:custGeom>
            <a:avLst/>
            <a:gdLst>
              <a:gd name="connsiteX0" fmla="*/ 2886 w 2219066"/>
              <a:gd name="connsiteY0" fmla="*/ 0 h 3995916"/>
              <a:gd name="connsiteX1" fmla="*/ 2219066 w 2219066"/>
              <a:gd name="connsiteY1" fmla="*/ 0 h 3995916"/>
              <a:gd name="connsiteX2" fmla="*/ 2219066 w 2219066"/>
              <a:gd name="connsiteY2" fmla="*/ 1640769 h 3995916"/>
              <a:gd name="connsiteX3" fmla="*/ 221107 w 2219066"/>
              <a:gd name="connsiteY3" fmla="*/ 3995916 h 3995916"/>
              <a:gd name="connsiteX4" fmla="*/ 0 w 2219066"/>
              <a:gd name="connsiteY4" fmla="*/ 3518406 h 3995916"/>
              <a:gd name="connsiteX5" fmla="*/ 887093 w 2219066"/>
              <a:gd name="connsiteY5" fmla="*/ 2219953 h 3995916"/>
              <a:gd name="connsiteX6" fmla="*/ 2886 w 2219066"/>
              <a:gd name="connsiteY6" fmla="*/ 2219953 h 3995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19066" h="3995916">
                <a:moveTo>
                  <a:pt x="2886" y="0"/>
                </a:moveTo>
                <a:lnTo>
                  <a:pt x="2219066" y="0"/>
                </a:lnTo>
                <a:lnTo>
                  <a:pt x="2219066" y="1640769"/>
                </a:lnTo>
                <a:cubicBezTo>
                  <a:pt x="2219066" y="2907029"/>
                  <a:pt x="1387027" y="3765485"/>
                  <a:pt x="221107" y="3995916"/>
                </a:cubicBezTo>
                <a:lnTo>
                  <a:pt x="0" y="3518406"/>
                </a:lnTo>
                <a:cubicBezTo>
                  <a:pt x="540115" y="3314835"/>
                  <a:pt x="887093" y="2710786"/>
                  <a:pt x="887093" y="2219953"/>
                </a:cubicBezTo>
                <a:lnTo>
                  <a:pt x="2886" y="2219953"/>
                </a:lnTo>
                <a:close/>
              </a:path>
            </a:pathLst>
          </a:custGeom>
          <a:pattFill prst="ltVert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Picture</a:t>
            </a:r>
            <a:endParaRPr lang="en-GB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A069EAB-087C-BE2B-6D37-121B441164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55960" y="6399515"/>
            <a:ext cx="1031238" cy="307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653842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9_Big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143504-EE65-4DC3-B3CA-E3F6B61D62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228601"/>
            <a:ext cx="5376672" cy="777240"/>
          </a:xfrm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0EC9150-4BFD-49BF-B8E4-AF03E73591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128016" rIns="0" bIns="0"/>
          <a:lstStyle/>
          <a:p>
            <a:pPr algn="r"/>
            <a:r>
              <a:rPr lang="en-GB"/>
              <a:t>Classification: INTERNAL USE ONLY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38E1321-EBFA-4C3D-BEA2-63D1F4F498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7695D00A-BA34-4D39-8C84-2534822D643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75AD173E-95AD-4CF5-BB5A-7CA9E22B68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799" y="2686316"/>
            <a:ext cx="5376672" cy="3562084"/>
          </a:xfrm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CAB4241F-4057-495B-B3D6-3483CCDEDB7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799" y="1592263"/>
            <a:ext cx="5376672" cy="695934"/>
          </a:xfrm>
        </p:spPr>
        <p:txBody>
          <a:bodyPr anchor="t"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  <a:lvl2pPr marL="0" indent="0">
              <a:buNone/>
              <a:defRPr sz="2200" b="1">
                <a:solidFill>
                  <a:schemeClr val="accent1"/>
                </a:solidFill>
              </a:defRPr>
            </a:lvl2pPr>
            <a:lvl3pPr>
              <a:defRPr sz="2200" b="1">
                <a:solidFill>
                  <a:schemeClr val="accent1"/>
                </a:solidFill>
              </a:defRPr>
            </a:lvl3pPr>
            <a:lvl4pPr>
              <a:defRPr sz="2200" b="1">
                <a:solidFill>
                  <a:schemeClr val="accent1"/>
                </a:solidFill>
              </a:defRPr>
            </a:lvl4pPr>
            <a:lvl5pPr>
              <a:defRPr sz="22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Picture Placeholder 9">
            <a:extLst>
              <a:ext uri="{FF2B5EF4-FFF2-40B4-BE49-F238E27FC236}">
                <a16:creationId xmlns:a16="http://schemas.microsoft.com/office/drawing/2014/main" id="{260EFC6D-9242-1827-5B2B-F410B1D754C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604000" y="0"/>
            <a:ext cx="5588000" cy="6858000"/>
          </a:xfrm>
          <a:custGeom>
            <a:avLst/>
            <a:gdLst>
              <a:gd name="connsiteX0" fmla="*/ 4692919 w 5588000"/>
              <a:gd name="connsiteY0" fmla="*/ 6643760 h 6858000"/>
              <a:gd name="connsiteX1" fmla="*/ 4727910 w 5588000"/>
              <a:gd name="connsiteY1" fmla="*/ 6643760 h 6858000"/>
              <a:gd name="connsiteX2" fmla="*/ 4744838 w 5588000"/>
              <a:gd name="connsiteY2" fmla="*/ 6658037 h 6858000"/>
              <a:gd name="connsiteX3" fmla="*/ 4712475 w 5588000"/>
              <a:gd name="connsiteY3" fmla="*/ 6681001 h 6858000"/>
              <a:gd name="connsiteX4" fmla="*/ 4679377 w 5588000"/>
              <a:gd name="connsiteY4" fmla="*/ 6662180 h 6858000"/>
              <a:gd name="connsiteX5" fmla="*/ 4692919 w 5588000"/>
              <a:gd name="connsiteY5" fmla="*/ 6643760 h 6858000"/>
              <a:gd name="connsiteX6" fmla="*/ 5243574 w 5588000"/>
              <a:gd name="connsiteY6" fmla="*/ 6579035 h 6858000"/>
              <a:gd name="connsiteX7" fmla="*/ 5243574 w 5588000"/>
              <a:gd name="connsiteY7" fmla="*/ 6602733 h 6858000"/>
              <a:gd name="connsiteX8" fmla="*/ 5224018 w 5588000"/>
              <a:gd name="connsiteY8" fmla="*/ 6612511 h 6858000"/>
              <a:gd name="connsiteX9" fmla="*/ 5207848 w 5588000"/>
              <a:gd name="connsiteY9" fmla="*/ 6598212 h 6858000"/>
              <a:gd name="connsiteX10" fmla="*/ 5243574 w 5588000"/>
              <a:gd name="connsiteY10" fmla="*/ 6579035 h 6858000"/>
              <a:gd name="connsiteX11" fmla="*/ 4850835 w 5588000"/>
              <a:gd name="connsiteY11" fmla="*/ 6532751 h 6858000"/>
              <a:gd name="connsiteX12" fmla="*/ 4871126 w 5588000"/>
              <a:gd name="connsiteY12" fmla="*/ 6555692 h 6858000"/>
              <a:gd name="connsiteX13" fmla="*/ 4827114 w 5588000"/>
              <a:gd name="connsiteY13" fmla="*/ 6555692 h 6858000"/>
              <a:gd name="connsiteX14" fmla="*/ 4850835 w 5588000"/>
              <a:gd name="connsiteY14" fmla="*/ 6532751 h 6858000"/>
              <a:gd name="connsiteX15" fmla="*/ 4715125 w 5588000"/>
              <a:gd name="connsiteY15" fmla="*/ 6528253 h 6858000"/>
              <a:gd name="connsiteX16" fmla="*/ 4734302 w 5588000"/>
              <a:gd name="connsiteY16" fmla="*/ 6547808 h 6858000"/>
              <a:gd name="connsiteX17" fmla="*/ 4714368 w 5588000"/>
              <a:gd name="connsiteY17" fmla="*/ 6567364 h 6858000"/>
              <a:gd name="connsiteX18" fmla="*/ 4695570 w 5588000"/>
              <a:gd name="connsiteY18" fmla="*/ 6547808 h 6858000"/>
              <a:gd name="connsiteX19" fmla="*/ 4715125 w 5588000"/>
              <a:gd name="connsiteY19" fmla="*/ 6528253 h 6858000"/>
              <a:gd name="connsiteX20" fmla="*/ 4361988 w 5588000"/>
              <a:gd name="connsiteY20" fmla="*/ 6508674 h 6858000"/>
              <a:gd name="connsiteX21" fmla="*/ 4411657 w 5588000"/>
              <a:gd name="connsiteY21" fmla="*/ 6636966 h 6858000"/>
              <a:gd name="connsiteX22" fmla="*/ 4407893 w 5588000"/>
              <a:gd name="connsiteY22" fmla="*/ 6645987 h 6858000"/>
              <a:gd name="connsiteX23" fmla="*/ 4375530 w 5588000"/>
              <a:gd name="connsiteY23" fmla="*/ 6678350 h 6858000"/>
              <a:gd name="connsiteX24" fmla="*/ 4358224 w 5588000"/>
              <a:gd name="connsiteY24" fmla="*/ 6676100 h 6858000"/>
              <a:gd name="connsiteX25" fmla="*/ 4352589 w 5588000"/>
              <a:gd name="connsiteY25" fmla="*/ 6701669 h 6858000"/>
              <a:gd name="connsiteX26" fmla="*/ 4381922 w 5588000"/>
              <a:gd name="connsiteY26" fmla="*/ 6705433 h 6858000"/>
              <a:gd name="connsiteX27" fmla="*/ 4438362 w 5588000"/>
              <a:gd name="connsiteY27" fmla="*/ 6664050 h 6858000"/>
              <a:gd name="connsiteX28" fmla="*/ 4502308 w 5588000"/>
              <a:gd name="connsiteY28" fmla="*/ 6508674 h 6858000"/>
              <a:gd name="connsiteX29" fmla="*/ 4502286 w 5588000"/>
              <a:gd name="connsiteY29" fmla="*/ 6508674 h 6858000"/>
              <a:gd name="connsiteX30" fmla="*/ 4465045 w 5588000"/>
              <a:gd name="connsiteY30" fmla="*/ 6508674 h 6858000"/>
              <a:gd name="connsiteX31" fmla="*/ 4440968 w 5588000"/>
              <a:gd name="connsiteY31" fmla="*/ 6571127 h 6858000"/>
              <a:gd name="connsiteX32" fmla="*/ 4433818 w 5588000"/>
              <a:gd name="connsiteY32" fmla="*/ 6593334 h 6858000"/>
              <a:gd name="connsiteX33" fmla="*/ 4428183 w 5588000"/>
              <a:gd name="connsiteY33" fmla="*/ 6572263 h 6858000"/>
              <a:gd name="connsiteX34" fmla="*/ 4404864 w 5588000"/>
              <a:gd name="connsiteY34" fmla="*/ 6508674 h 6858000"/>
              <a:gd name="connsiteX35" fmla="*/ 5231925 w 5588000"/>
              <a:gd name="connsiteY35" fmla="*/ 6505690 h 6858000"/>
              <a:gd name="connsiteX36" fmla="*/ 5173993 w 5588000"/>
              <a:gd name="connsiteY36" fmla="*/ 6521482 h 6858000"/>
              <a:gd name="connsiteX37" fmla="*/ 5183771 w 5588000"/>
              <a:gd name="connsiteY37" fmla="*/ 6545180 h 6858000"/>
              <a:gd name="connsiteX38" fmla="*/ 5220655 w 5588000"/>
              <a:gd name="connsiteY38" fmla="*/ 6533130 h 6858000"/>
              <a:gd name="connsiteX39" fmla="*/ 5243574 w 5588000"/>
              <a:gd name="connsiteY39" fmla="*/ 6551194 h 6858000"/>
              <a:gd name="connsiteX40" fmla="*/ 5243574 w 5588000"/>
              <a:gd name="connsiteY40" fmla="*/ 6554579 h 6858000"/>
              <a:gd name="connsiteX41" fmla="*/ 5167957 w 5588000"/>
              <a:gd name="connsiteY41" fmla="*/ 6603869 h 6858000"/>
              <a:gd name="connsiteX42" fmla="*/ 5208204 w 5588000"/>
              <a:gd name="connsiteY42" fmla="*/ 6639595 h 6858000"/>
              <a:gd name="connsiteX43" fmla="*/ 5244710 w 5588000"/>
              <a:gd name="connsiteY43" fmla="*/ 6626810 h 6858000"/>
              <a:gd name="connsiteX44" fmla="*/ 5244710 w 5588000"/>
              <a:gd name="connsiteY44" fmla="*/ 6636967 h 6858000"/>
              <a:gd name="connsiteX45" fmla="*/ 5282329 w 5588000"/>
              <a:gd name="connsiteY45" fmla="*/ 6636967 h 6858000"/>
              <a:gd name="connsiteX46" fmla="*/ 5282351 w 5588000"/>
              <a:gd name="connsiteY46" fmla="*/ 6636989 h 6858000"/>
              <a:gd name="connsiteX47" fmla="*/ 5282351 w 5588000"/>
              <a:gd name="connsiteY47" fmla="*/ 6545937 h 6858000"/>
              <a:gd name="connsiteX48" fmla="*/ 5231925 w 5588000"/>
              <a:gd name="connsiteY48" fmla="*/ 6505690 h 6858000"/>
              <a:gd name="connsiteX49" fmla="*/ 5012380 w 5588000"/>
              <a:gd name="connsiteY49" fmla="*/ 6505667 h 6858000"/>
              <a:gd name="connsiteX50" fmla="*/ 4968369 w 5588000"/>
              <a:gd name="connsiteY50" fmla="*/ 6519966 h 6858000"/>
              <a:gd name="connsiteX51" fmla="*/ 4968369 w 5588000"/>
              <a:gd name="connsiteY51" fmla="*/ 6508674 h 6858000"/>
              <a:gd name="connsiteX52" fmla="*/ 4929614 w 5588000"/>
              <a:gd name="connsiteY52" fmla="*/ 6508674 h 6858000"/>
              <a:gd name="connsiteX53" fmla="*/ 4929614 w 5588000"/>
              <a:gd name="connsiteY53" fmla="*/ 6636944 h 6858000"/>
              <a:gd name="connsiteX54" fmla="*/ 4969505 w 5588000"/>
              <a:gd name="connsiteY54" fmla="*/ 6636944 h 6858000"/>
              <a:gd name="connsiteX55" fmla="*/ 4969505 w 5588000"/>
              <a:gd name="connsiteY55" fmla="*/ 6546672 h 6858000"/>
              <a:gd name="connsiteX56" fmla="*/ 4993938 w 5588000"/>
              <a:gd name="connsiteY56" fmla="*/ 6535758 h 6858000"/>
              <a:gd name="connsiteX57" fmla="*/ 5012737 w 5588000"/>
              <a:gd name="connsiteY57" fmla="*/ 6554578 h 6858000"/>
              <a:gd name="connsiteX58" fmla="*/ 5012737 w 5588000"/>
              <a:gd name="connsiteY58" fmla="*/ 6636966 h 6858000"/>
              <a:gd name="connsiteX59" fmla="*/ 5052628 w 5588000"/>
              <a:gd name="connsiteY59" fmla="*/ 6636966 h 6858000"/>
              <a:gd name="connsiteX60" fmla="*/ 5052628 w 5588000"/>
              <a:gd name="connsiteY60" fmla="*/ 6636944 h 6858000"/>
              <a:gd name="connsiteX61" fmla="*/ 5052628 w 5588000"/>
              <a:gd name="connsiteY61" fmla="*/ 6545536 h 6858000"/>
              <a:gd name="connsiteX62" fmla="*/ 5012380 w 5588000"/>
              <a:gd name="connsiteY62" fmla="*/ 6505667 h 6858000"/>
              <a:gd name="connsiteX63" fmla="*/ 4852350 w 5588000"/>
              <a:gd name="connsiteY63" fmla="*/ 6505667 h 6858000"/>
              <a:gd name="connsiteX64" fmla="*/ 4784662 w 5588000"/>
              <a:gd name="connsiteY64" fmla="*/ 6572998 h 6858000"/>
              <a:gd name="connsiteX65" fmla="*/ 4849343 w 5588000"/>
              <a:gd name="connsiteY65" fmla="*/ 6639594 h 6858000"/>
              <a:gd name="connsiteX66" fmla="*/ 4906896 w 5588000"/>
              <a:gd name="connsiteY66" fmla="*/ 6624916 h 6858000"/>
              <a:gd name="connsiteX67" fmla="*/ 4896361 w 5588000"/>
              <a:gd name="connsiteY67" fmla="*/ 6601218 h 6858000"/>
              <a:gd name="connsiteX68" fmla="*/ 4863620 w 5588000"/>
              <a:gd name="connsiteY68" fmla="*/ 6610996 h 6858000"/>
              <a:gd name="connsiteX69" fmla="*/ 4826758 w 5588000"/>
              <a:gd name="connsiteY69" fmla="*/ 6581284 h 6858000"/>
              <a:gd name="connsiteX70" fmla="*/ 4911774 w 5588000"/>
              <a:gd name="connsiteY70" fmla="*/ 6581284 h 6858000"/>
              <a:gd name="connsiteX71" fmla="*/ 4912152 w 5588000"/>
              <a:gd name="connsiteY71" fmla="*/ 6568120 h 6858000"/>
              <a:gd name="connsiteX72" fmla="*/ 4912175 w 5588000"/>
              <a:gd name="connsiteY72" fmla="*/ 6568120 h 6858000"/>
              <a:gd name="connsiteX73" fmla="*/ 4852350 w 5588000"/>
              <a:gd name="connsiteY73" fmla="*/ 6505667 h 6858000"/>
              <a:gd name="connsiteX74" fmla="*/ 4593315 w 5588000"/>
              <a:gd name="connsiteY74" fmla="*/ 6505667 h 6858000"/>
              <a:gd name="connsiteX75" fmla="*/ 4549304 w 5588000"/>
              <a:gd name="connsiteY75" fmla="*/ 6519966 h 6858000"/>
              <a:gd name="connsiteX76" fmla="*/ 4549304 w 5588000"/>
              <a:gd name="connsiteY76" fmla="*/ 6508674 h 6858000"/>
              <a:gd name="connsiteX77" fmla="*/ 4510549 w 5588000"/>
              <a:gd name="connsiteY77" fmla="*/ 6508674 h 6858000"/>
              <a:gd name="connsiteX78" fmla="*/ 4510549 w 5588000"/>
              <a:gd name="connsiteY78" fmla="*/ 6636944 h 6858000"/>
              <a:gd name="connsiteX79" fmla="*/ 4550418 w 5588000"/>
              <a:gd name="connsiteY79" fmla="*/ 6636944 h 6858000"/>
              <a:gd name="connsiteX80" fmla="*/ 4550418 w 5588000"/>
              <a:gd name="connsiteY80" fmla="*/ 6546672 h 6858000"/>
              <a:gd name="connsiteX81" fmla="*/ 4574873 w 5588000"/>
              <a:gd name="connsiteY81" fmla="*/ 6535758 h 6858000"/>
              <a:gd name="connsiteX82" fmla="*/ 4593672 w 5588000"/>
              <a:gd name="connsiteY82" fmla="*/ 6554578 h 6858000"/>
              <a:gd name="connsiteX83" fmla="*/ 4593672 w 5588000"/>
              <a:gd name="connsiteY83" fmla="*/ 6636966 h 6858000"/>
              <a:gd name="connsiteX84" fmla="*/ 4633563 w 5588000"/>
              <a:gd name="connsiteY84" fmla="*/ 6636966 h 6858000"/>
              <a:gd name="connsiteX85" fmla="*/ 4633585 w 5588000"/>
              <a:gd name="connsiteY85" fmla="*/ 6636944 h 6858000"/>
              <a:gd name="connsiteX86" fmla="*/ 4633585 w 5588000"/>
              <a:gd name="connsiteY86" fmla="*/ 6545536 h 6858000"/>
              <a:gd name="connsiteX87" fmla="*/ 4593315 w 5588000"/>
              <a:gd name="connsiteY87" fmla="*/ 6505667 h 6858000"/>
              <a:gd name="connsiteX88" fmla="*/ 4716618 w 5588000"/>
              <a:gd name="connsiteY88" fmla="*/ 6505267 h 6858000"/>
              <a:gd name="connsiteX89" fmla="*/ 4656815 w 5588000"/>
              <a:gd name="connsiteY89" fmla="*/ 6547029 h 6858000"/>
              <a:gd name="connsiteX90" fmla="*/ 4674121 w 5588000"/>
              <a:gd name="connsiteY90" fmla="*/ 6578256 h 6858000"/>
              <a:gd name="connsiteX91" fmla="*/ 4649665 w 5588000"/>
              <a:gd name="connsiteY91" fmla="*/ 6609861 h 6858000"/>
              <a:gd name="connsiteX92" fmla="*/ 4656058 w 5588000"/>
              <a:gd name="connsiteY92" fmla="*/ 6629795 h 6858000"/>
              <a:gd name="connsiteX93" fmla="*/ 4667729 w 5588000"/>
              <a:gd name="connsiteY93" fmla="*/ 6638081 h 6858000"/>
              <a:gd name="connsiteX94" fmla="*/ 4647037 w 5588000"/>
              <a:gd name="connsiteY94" fmla="*/ 6667437 h 6858000"/>
              <a:gd name="connsiteX95" fmla="*/ 4710604 w 5588000"/>
              <a:gd name="connsiteY95" fmla="*/ 6707684 h 6858000"/>
              <a:gd name="connsiteX96" fmla="*/ 4784706 w 5588000"/>
              <a:gd name="connsiteY96" fmla="*/ 6652759 h 6858000"/>
              <a:gd name="connsiteX97" fmla="*/ 4784706 w 5588000"/>
              <a:gd name="connsiteY97" fmla="*/ 6652736 h 6858000"/>
              <a:gd name="connsiteX98" fmla="*/ 4737666 w 5588000"/>
              <a:gd name="connsiteY98" fmla="*/ 6610240 h 6858000"/>
              <a:gd name="connsiteX99" fmla="*/ 4706060 w 5588000"/>
              <a:gd name="connsiteY99" fmla="*/ 6610240 h 6858000"/>
              <a:gd name="connsiteX100" fmla="*/ 4686505 w 5588000"/>
              <a:gd name="connsiteY100" fmla="*/ 6598947 h 6858000"/>
              <a:gd name="connsiteX101" fmla="*/ 4696283 w 5588000"/>
              <a:gd name="connsiteY101" fmla="*/ 6588033 h 6858000"/>
              <a:gd name="connsiteX102" fmla="*/ 4712096 w 5588000"/>
              <a:gd name="connsiteY102" fmla="*/ 6589904 h 6858000"/>
              <a:gd name="connsiteX103" fmla="*/ 4773057 w 5588000"/>
              <a:gd name="connsiteY103" fmla="*/ 6545893 h 6858000"/>
              <a:gd name="connsiteX104" fmla="*/ 4716618 w 5588000"/>
              <a:gd name="connsiteY104" fmla="*/ 6505267 h 6858000"/>
              <a:gd name="connsiteX105" fmla="*/ 4308733 w 5588000"/>
              <a:gd name="connsiteY105" fmla="*/ 6503396 h 6858000"/>
              <a:gd name="connsiteX106" fmla="*/ 4255322 w 5588000"/>
              <a:gd name="connsiteY106" fmla="*/ 6546271 h 6858000"/>
              <a:gd name="connsiteX107" fmla="*/ 4285035 w 5588000"/>
              <a:gd name="connsiteY107" fmla="*/ 6583156 h 6858000"/>
              <a:gd name="connsiteX108" fmla="*/ 4312119 w 5588000"/>
              <a:gd name="connsiteY108" fmla="*/ 6589548 h 6858000"/>
              <a:gd name="connsiteX109" fmla="*/ 4321540 w 5588000"/>
              <a:gd name="connsiteY109" fmla="*/ 6599326 h 6858000"/>
              <a:gd name="connsiteX110" fmla="*/ 4299334 w 5588000"/>
              <a:gd name="connsiteY110" fmla="*/ 6611754 h 6858000"/>
              <a:gd name="connsiteX111" fmla="*/ 4262851 w 5588000"/>
              <a:gd name="connsiteY111" fmla="*/ 6603112 h 6858000"/>
              <a:gd name="connsiteX112" fmla="*/ 4251937 w 5588000"/>
              <a:gd name="connsiteY112" fmla="*/ 6629060 h 6858000"/>
              <a:gd name="connsiteX113" fmla="*/ 4304991 w 5588000"/>
              <a:gd name="connsiteY113" fmla="*/ 6639217 h 6858000"/>
              <a:gd name="connsiteX114" fmla="*/ 4361431 w 5588000"/>
              <a:gd name="connsiteY114" fmla="*/ 6595962 h 6858000"/>
              <a:gd name="connsiteX115" fmla="*/ 4361386 w 5588000"/>
              <a:gd name="connsiteY115" fmla="*/ 6595962 h 6858000"/>
              <a:gd name="connsiteX116" fmla="*/ 4327910 w 5588000"/>
              <a:gd name="connsiteY116" fmla="*/ 6555693 h 6858000"/>
              <a:gd name="connsiteX117" fmla="*/ 4303454 w 5588000"/>
              <a:gd name="connsiteY117" fmla="*/ 6550058 h 6858000"/>
              <a:gd name="connsiteX118" fmla="*/ 4295547 w 5588000"/>
              <a:gd name="connsiteY118" fmla="*/ 6540659 h 6858000"/>
              <a:gd name="connsiteX119" fmla="*/ 4313989 w 5588000"/>
              <a:gd name="connsiteY119" fmla="*/ 6529745 h 6858000"/>
              <a:gd name="connsiteX120" fmla="*/ 4343345 w 5588000"/>
              <a:gd name="connsiteY120" fmla="*/ 6535380 h 6858000"/>
              <a:gd name="connsiteX121" fmla="*/ 4353502 w 5588000"/>
              <a:gd name="connsiteY121" fmla="*/ 6509410 h 6858000"/>
              <a:gd name="connsiteX122" fmla="*/ 4308733 w 5588000"/>
              <a:gd name="connsiteY122" fmla="*/ 6503396 h 6858000"/>
              <a:gd name="connsiteX123" fmla="*/ 5124949 w 5588000"/>
              <a:gd name="connsiteY123" fmla="*/ 6469184 h 6858000"/>
              <a:gd name="connsiteX124" fmla="*/ 5085080 w 5588000"/>
              <a:gd name="connsiteY124" fmla="*/ 6480476 h 6858000"/>
              <a:gd name="connsiteX125" fmla="*/ 5085080 w 5588000"/>
              <a:gd name="connsiteY125" fmla="*/ 6508674 h 6858000"/>
              <a:gd name="connsiteX126" fmla="*/ 5064767 w 5588000"/>
              <a:gd name="connsiteY126" fmla="*/ 6508674 h 6858000"/>
              <a:gd name="connsiteX127" fmla="*/ 5064767 w 5588000"/>
              <a:gd name="connsiteY127" fmla="*/ 6534266 h 6858000"/>
              <a:gd name="connsiteX128" fmla="*/ 5085080 w 5588000"/>
              <a:gd name="connsiteY128" fmla="*/ 6534266 h 6858000"/>
              <a:gd name="connsiteX129" fmla="*/ 5085080 w 5588000"/>
              <a:gd name="connsiteY129" fmla="*/ 6601597 h 6858000"/>
              <a:gd name="connsiteX130" fmla="*/ 5130584 w 5588000"/>
              <a:gd name="connsiteY130" fmla="*/ 6639595 h 6858000"/>
              <a:gd name="connsiteX131" fmla="*/ 5159939 w 5588000"/>
              <a:gd name="connsiteY131" fmla="*/ 6636588 h 6858000"/>
              <a:gd name="connsiteX132" fmla="*/ 5157289 w 5588000"/>
              <a:gd name="connsiteY132" fmla="*/ 6610617 h 6858000"/>
              <a:gd name="connsiteX133" fmla="*/ 5144883 w 5588000"/>
              <a:gd name="connsiteY133" fmla="*/ 6611753 h 6858000"/>
              <a:gd name="connsiteX134" fmla="*/ 5124949 w 5588000"/>
              <a:gd name="connsiteY134" fmla="*/ 6592198 h 6858000"/>
              <a:gd name="connsiteX135" fmla="*/ 5124949 w 5588000"/>
              <a:gd name="connsiteY135" fmla="*/ 6534266 h 6858000"/>
              <a:gd name="connsiteX136" fmla="*/ 5159939 w 5588000"/>
              <a:gd name="connsiteY136" fmla="*/ 6534266 h 6858000"/>
              <a:gd name="connsiteX137" fmla="*/ 5159939 w 5588000"/>
              <a:gd name="connsiteY137" fmla="*/ 6508674 h 6858000"/>
              <a:gd name="connsiteX138" fmla="*/ 5124949 w 5588000"/>
              <a:gd name="connsiteY138" fmla="*/ 6508674 h 6858000"/>
              <a:gd name="connsiteX139" fmla="*/ 4849186 w 5588000"/>
              <a:gd name="connsiteY139" fmla="*/ 6399470 h 6858000"/>
              <a:gd name="connsiteX140" fmla="*/ 4758936 w 5588000"/>
              <a:gd name="connsiteY140" fmla="*/ 6432879 h 6858000"/>
              <a:gd name="connsiteX141" fmla="*/ 4743568 w 5588000"/>
              <a:gd name="connsiteY141" fmla="*/ 6475332 h 6858000"/>
              <a:gd name="connsiteX142" fmla="*/ 4747622 w 5588000"/>
              <a:gd name="connsiteY142" fmla="*/ 6503774 h 6858000"/>
              <a:gd name="connsiteX143" fmla="*/ 4770206 w 5588000"/>
              <a:gd name="connsiteY143" fmla="*/ 6499721 h 6858000"/>
              <a:gd name="connsiteX144" fmla="*/ 4818026 w 5588000"/>
              <a:gd name="connsiteY144" fmla="*/ 6484375 h 6858000"/>
              <a:gd name="connsiteX145" fmla="*/ 4849164 w 5588000"/>
              <a:gd name="connsiteY145" fmla="*/ 6399515 h 6858000"/>
              <a:gd name="connsiteX146" fmla="*/ 0 w 5588000"/>
              <a:gd name="connsiteY146" fmla="*/ 0 h 6858000"/>
              <a:gd name="connsiteX147" fmla="*/ 5588000 w 5588000"/>
              <a:gd name="connsiteY147" fmla="*/ 0 h 6858000"/>
              <a:gd name="connsiteX148" fmla="*/ 5588000 w 5588000"/>
              <a:gd name="connsiteY148" fmla="*/ 6858000 h 6858000"/>
              <a:gd name="connsiteX149" fmla="*/ 0 w 5588000"/>
              <a:gd name="connsiteY149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</a:cxnLst>
            <a:rect l="l" t="t" r="r" b="b"/>
            <a:pathLst>
              <a:path w="5588000" h="6858000">
                <a:moveTo>
                  <a:pt x="4692919" y="6643760"/>
                </a:moveTo>
                <a:lnTo>
                  <a:pt x="4727910" y="6643760"/>
                </a:lnTo>
                <a:cubicBezTo>
                  <a:pt x="4736463" y="6643760"/>
                  <a:pt x="4744838" y="6647569"/>
                  <a:pt x="4744838" y="6658037"/>
                </a:cubicBezTo>
                <a:cubicBezTo>
                  <a:pt x="4744838" y="6672470"/>
                  <a:pt x="4730405" y="6681001"/>
                  <a:pt x="4712475" y="6681001"/>
                </a:cubicBezTo>
                <a:cubicBezTo>
                  <a:pt x="4694545" y="6681001"/>
                  <a:pt x="4679377" y="6673450"/>
                  <a:pt x="4679377" y="6662180"/>
                </a:cubicBezTo>
                <a:cubicBezTo>
                  <a:pt x="4679377" y="6653471"/>
                  <a:pt x="4687596" y="6646789"/>
                  <a:pt x="4692919" y="6643760"/>
                </a:cubicBezTo>
                <a:close/>
                <a:moveTo>
                  <a:pt x="5243574" y="6579035"/>
                </a:moveTo>
                <a:lnTo>
                  <a:pt x="5243574" y="6602733"/>
                </a:lnTo>
                <a:cubicBezTo>
                  <a:pt x="5238674" y="6608368"/>
                  <a:pt x="5232281" y="6612511"/>
                  <a:pt x="5224018" y="6612511"/>
                </a:cubicBezTo>
                <a:cubicBezTo>
                  <a:pt x="5217047" y="6612511"/>
                  <a:pt x="5207848" y="6609103"/>
                  <a:pt x="5207848" y="6598212"/>
                </a:cubicBezTo>
                <a:cubicBezTo>
                  <a:pt x="5207848" y="6580572"/>
                  <a:pt x="5225109" y="6578745"/>
                  <a:pt x="5243574" y="6579035"/>
                </a:cubicBezTo>
                <a:close/>
                <a:moveTo>
                  <a:pt x="4850835" y="6532751"/>
                </a:moveTo>
                <a:cubicBezTo>
                  <a:pt x="4864711" y="6532751"/>
                  <a:pt x="4871816" y="6541571"/>
                  <a:pt x="4871126" y="6555692"/>
                </a:cubicBezTo>
                <a:lnTo>
                  <a:pt x="4827114" y="6555692"/>
                </a:lnTo>
                <a:cubicBezTo>
                  <a:pt x="4829386" y="6542618"/>
                  <a:pt x="4836959" y="6532751"/>
                  <a:pt x="4850835" y="6532751"/>
                </a:cubicBezTo>
                <a:close/>
                <a:moveTo>
                  <a:pt x="4715125" y="6528253"/>
                </a:moveTo>
                <a:cubicBezTo>
                  <a:pt x="4728378" y="6528253"/>
                  <a:pt x="4734302" y="6537051"/>
                  <a:pt x="4734302" y="6547808"/>
                </a:cubicBezTo>
                <a:cubicBezTo>
                  <a:pt x="4734302" y="6558522"/>
                  <a:pt x="4727665" y="6567364"/>
                  <a:pt x="4714368" y="6567364"/>
                </a:cubicBezTo>
                <a:cubicBezTo>
                  <a:pt x="4702274" y="6567364"/>
                  <a:pt x="4695570" y="6558566"/>
                  <a:pt x="4695570" y="6547808"/>
                </a:cubicBezTo>
                <a:cubicBezTo>
                  <a:pt x="4695570" y="6538476"/>
                  <a:pt x="4703009" y="6528253"/>
                  <a:pt x="4715125" y="6528253"/>
                </a:cubicBezTo>
                <a:close/>
                <a:moveTo>
                  <a:pt x="4361988" y="6508674"/>
                </a:moveTo>
                <a:lnTo>
                  <a:pt x="4411657" y="6636966"/>
                </a:lnTo>
                <a:lnTo>
                  <a:pt x="4407893" y="6645987"/>
                </a:lnTo>
                <a:cubicBezTo>
                  <a:pt x="4400097" y="6664718"/>
                  <a:pt x="4391589" y="6678350"/>
                  <a:pt x="4375530" y="6678350"/>
                </a:cubicBezTo>
                <a:cubicBezTo>
                  <a:pt x="4370630" y="6678350"/>
                  <a:pt x="4365307" y="6677704"/>
                  <a:pt x="4358224" y="6676100"/>
                </a:cubicBezTo>
                <a:lnTo>
                  <a:pt x="4352589" y="6701669"/>
                </a:lnTo>
                <a:cubicBezTo>
                  <a:pt x="4361365" y="6703674"/>
                  <a:pt x="4368470" y="6705433"/>
                  <a:pt x="4381922" y="6705433"/>
                </a:cubicBezTo>
                <a:cubicBezTo>
                  <a:pt x="4408806" y="6705433"/>
                  <a:pt x="4428540" y="6687927"/>
                  <a:pt x="4438362" y="6664050"/>
                </a:cubicBezTo>
                <a:lnTo>
                  <a:pt x="4502308" y="6508674"/>
                </a:lnTo>
                <a:lnTo>
                  <a:pt x="4502286" y="6508674"/>
                </a:lnTo>
                <a:lnTo>
                  <a:pt x="4465045" y="6508674"/>
                </a:lnTo>
                <a:lnTo>
                  <a:pt x="4440968" y="6571127"/>
                </a:lnTo>
                <a:cubicBezTo>
                  <a:pt x="4438117" y="6578522"/>
                  <a:pt x="4435288" y="6587743"/>
                  <a:pt x="4433818" y="6593334"/>
                </a:cubicBezTo>
                <a:cubicBezTo>
                  <a:pt x="4432571" y="6587788"/>
                  <a:pt x="4430990" y="6579948"/>
                  <a:pt x="4428183" y="6572263"/>
                </a:cubicBezTo>
                <a:lnTo>
                  <a:pt x="4404864" y="6508674"/>
                </a:lnTo>
                <a:close/>
                <a:moveTo>
                  <a:pt x="5231925" y="6505690"/>
                </a:moveTo>
                <a:cubicBezTo>
                  <a:pt x="5211968" y="6505690"/>
                  <a:pt x="5190920" y="6512283"/>
                  <a:pt x="5173993" y="6521482"/>
                </a:cubicBezTo>
                <a:lnTo>
                  <a:pt x="5183771" y="6545180"/>
                </a:lnTo>
                <a:cubicBezTo>
                  <a:pt x="5193304" y="6539456"/>
                  <a:pt x="5207848" y="6533130"/>
                  <a:pt x="5220655" y="6533130"/>
                </a:cubicBezTo>
                <a:cubicBezTo>
                  <a:pt x="5239587" y="6533130"/>
                  <a:pt x="5243574" y="6540614"/>
                  <a:pt x="5243574" y="6551194"/>
                </a:cubicBezTo>
                <a:lnTo>
                  <a:pt x="5243574" y="6554579"/>
                </a:lnTo>
                <a:cubicBezTo>
                  <a:pt x="5210409" y="6554735"/>
                  <a:pt x="5167957" y="6561350"/>
                  <a:pt x="5167957" y="6603869"/>
                </a:cubicBezTo>
                <a:cubicBezTo>
                  <a:pt x="5167957" y="6628035"/>
                  <a:pt x="5184350" y="6639595"/>
                  <a:pt x="5208204" y="6639595"/>
                </a:cubicBezTo>
                <a:cubicBezTo>
                  <a:pt x="5222281" y="6639595"/>
                  <a:pt x="5234932" y="6635452"/>
                  <a:pt x="5244710" y="6626810"/>
                </a:cubicBezTo>
                <a:lnTo>
                  <a:pt x="5244710" y="6636967"/>
                </a:lnTo>
                <a:lnTo>
                  <a:pt x="5282329" y="6636967"/>
                </a:lnTo>
                <a:lnTo>
                  <a:pt x="5282351" y="6636989"/>
                </a:lnTo>
                <a:lnTo>
                  <a:pt x="5282351" y="6545937"/>
                </a:lnTo>
                <a:cubicBezTo>
                  <a:pt x="5282351" y="6520323"/>
                  <a:pt x="5262550" y="6505690"/>
                  <a:pt x="5231925" y="6505690"/>
                </a:cubicBezTo>
                <a:close/>
                <a:moveTo>
                  <a:pt x="5012380" y="6505667"/>
                </a:moveTo>
                <a:cubicBezTo>
                  <a:pt x="4996255" y="6505667"/>
                  <a:pt x="4981376" y="6511235"/>
                  <a:pt x="4968369" y="6519966"/>
                </a:cubicBezTo>
                <a:lnTo>
                  <a:pt x="4968369" y="6508674"/>
                </a:lnTo>
                <a:lnTo>
                  <a:pt x="4929614" y="6508674"/>
                </a:lnTo>
                <a:lnTo>
                  <a:pt x="4929614" y="6636944"/>
                </a:lnTo>
                <a:lnTo>
                  <a:pt x="4969505" y="6636944"/>
                </a:lnTo>
                <a:lnTo>
                  <a:pt x="4969505" y="6546672"/>
                </a:lnTo>
                <a:cubicBezTo>
                  <a:pt x="4976944" y="6540725"/>
                  <a:pt x="4983626" y="6535758"/>
                  <a:pt x="4993938" y="6535758"/>
                </a:cubicBezTo>
                <a:cubicBezTo>
                  <a:pt x="5007636" y="6535758"/>
                  <a:pt x="5012737" y="6542462"/>
                  <a:pt x="5012737" y="6554578"/>
                </a:cubicBezTo>
                <a:lnTo>
                  <a:pt x="5012737" y="6636966"/>
                </a:lnTo>
                <a:lnTo>
                  <a:pt x="5052628" y="6636966"/>
                </a:lnTo>
                <a:lnTo>
                  <a:pt x="5052628" y="6636944"/>
                </a:lnTo>
                <a:lnTo>
                  <a:pt x="5052628" y="6545536"/>
                </a:lnTo>
                <a:cubicBezTo>
                  <a:pt x="5052628" y="6521481"/>
                  <a:pt x="5037816" y="6505667"/>
                  <a:pt x="5012380" y="6505667"/>
                </a:cubicBezTo>
                <a:close/>
                <a:moveTo>
                  <a:pt x="4852350" y="6505667"/>
                </a:moveTo>
                <a:cubicBezTo>
                  <a:pt x="4817203" y="6505667"/>
                  <a:pt x="4784662" y="6532060"/>
                  <a:pt x="4784662" y="6572998"/>
                </a:cubicBezTo>
                <a:cubicBezTo>
                  <a:pt x="4784662" y="6613936"/>
                  <a:pt x="4809496" y="6639594"/>
                  <a:pt x="4849343" y="6639594"/>
                </a:cubicBezTo>
                <a:cubicBezTo>
                  <a:pt x="4870413" y="6639594"/>
                  <a:pt x="4889323" y="6634449"/>
                  <a:pt x="4906896" y="6624916"/>
                </a:cubicBezTo>
                <a:lnTo>
                  <a:pt x="4896361" y="6601218"/>
                </a:lnTo>
                <a:cubicBezTo>
                  <a:pt x="4890147" y="6605517"/>
                  <a:pt x="4875669" y="6610996"/>
                  <a:pt x="4863620" y="6610996"/>
                </a:cubicBezTo>
                <a:cubicBezTo>
                  <a:pt x="4836424" y="6610996"/>
                  <a:pt x="4827114" y="6599948"/>
                  <a:pt x="4826758" y="6581284"/>
                </a:cubicBezTo>
                <a:lnTo>
                  <a:pt x="4911774" y="6581284"/>
                </a:lnTo>
                <a:cubicBezTo>
                  <a:pt x="4912019" y="6576740"/>
                  <a:pt x="4912152" y="6572375"/>
                  <a:pt x="4912152" y="6568120"/>
                </a:cubicBezTo>
                <a:lnTo>
                  <a:pt x="4912175" y="6568120"/>
                </a:lnTo>
                <a:cubicBezTo>
                  <a:pt x="4912175" y="6531259"/>
                  <a:pt x="4896138" y="6505667"/>
                  <a:pt x="4852350" y="6505667"/>
                </a:cubicBezTo>
                <a:close/>
                <a:moveTo>
                  <a:pt x="4593315" y="6505667"/>
                </a:moveTo>
                <a:cubicBezTo>
                  <a:pt x="4577190" y="6505667"/>
                  <a:pt x="4562289" y="6511235"/>
                  <a:pt x="4549304" y="6519966"/>
                </a:cubicBezTo>
                <a:lnTo>
                  <a:pt x="4549304" y="6508674"/>
                </a:lnTo>
                <a:lnTo>
                  <a:pt x="4510549" y="6508674"/>
                </a:lnTo>
                <a:lnTo>
                  <a:pt x="4510549" y="6636944"/>
                </a:lnTo>
                <a:lnTo>
                  <a:pt x="4550418" y="6636944"/>
                </a:lnTo>
                <a:lnTo>
                  <a:pt x="4550418" y="6546672"/>
                </a:lnTo>
                <a:cubicBezTo>
                  <a:pt x="4557879" y="6540725"/>
                  <a:pt x="4564561" y="6535758"/>
                  <a:pt x="4574873" y="6535758"/>
                </a:cubicBezTo>
                <a:cubicBezTo>
                  <a:pt x="4588571" y="6535758"/>
                  <a:pt x="4593672" y="6542462"/>
                  <a:pt x="4593672" y="6554578"/>
                </a:cubicBezTo>
                <a:lnTo>
                  <a:pt x="4593672" y="6636966"/>
                </a:lnTo>
                <a:lnTo>
                  <a:pt x="4633563" y="6636966"/>
                </a:lnTo>
                <a:lnTo>
                  <a:pt x="4633585" y="6636944"/>
                </a:lnTo>
                <a:lnTo>
                  <a:pt x="4633585" y="6545536"/>
                </a:lnTo>
                <a:cubicBezTo>
                  <a:pt x="4633585" y="6521481"/>
                  <a:pt x="4618751" y="6505667"/>
                  <a:pt x="4593315" y="6505667"/>
                </a:cubicBezTo>
                <a:close/>
                <a:moveTo>
                  <a:pt x="4716618" y="6505267"/>
                </a:moveTo>
                <a:cubicBezTo>
                  <a:pt x="4682741" y="6505267"/>
                  <a:pt x="4656815" y="6519678"/>
                  <a:pt x="4656815" y="6547029"/>
                </a:cubicBezTo>
                <a:cubicBezTo>
                  <a:pt x="4656815" y="6568055"/>
                  <a:pt x="4666682" y="6574335"/>
                  <a:pt x="4674121" y="6578256"/>
                </a:cubicBezTo>
                <a:cubicBezTo>
                  <a:pt x="4660735" y="6585717"/>
                  <a:pt x="4649665" y="6597321"/>
                  <a:pt x="4649665" y="6609861"/>
                </a:cubicBezTo>
                <a:cubicBezTo>
                  <a:pt x="4649665" y="6619817"/>
                  <a:pt x="4652494" y="6625742"/>
                  <a:pt x="4656058" y="6629795"/>
                </a:cubicBezTo>
                <a:cubicBezTo>
                  <a:pt x="4659443" y="6633648"/>
                  <a:pt x="4663408" y="6635608"/>
                  <a:pt x="4667729" y="6638081"/>
                </a:cubicBezTo>
                <a:cubicBezTo>
                  <a:pt x="4659911" y="6643159"/>
                  <a:pt x="4647037" y="6652892"/>
                  <a:pt x="4647037" y="6667437"/>
                </a:cubicBezTo>
                <a:cubicBezTo>
                  <a:pt x="4647037" y="6698530"/>
                  <a:pt x="4678219" y="6707840"/>
                  <a:pt x="4710604" y="6707684"/>
                </a:cubicBezTo>
                <a:cubicBezTo>
                  <a:pt x="4747399" y="6707506"/>
                  <a:pt x="4784706" y="6690177"/>
                  <a:pt x="4784706" y="6652759"/>
                </a:cubicBezTo>
                <a:lnTo>
                  <a:pt x="4784706" y="6652736"/>
                </a:lnTo>
                <a:cubicBezTo>
                  <a:pt x="4784706" y="6624450"/>
                  <a:pt x="4766977" y="6610240"/>
                  <a:pt x="4737666" y="6610240"/>
                </a:cubicBezTo>
                <a:lnTo>
                  <a:pt x="4706060" y="6610240"/>
                </a:lnTo>
                <a:cubicBezTo>
                  <a:pt x="4699958" y="6610240"/>
                  <a:pt x="4686505" y="6608792"/>
                  <a:pt x="4686505" y="6598947"/>
                </a:cubicBezTo>
                <a:cubicBezTo>
                  <a:pt x="4686505" y="6594092"/>
                  <a:pt x="4693031" y="6589771"/>
                  <a:pt x="4696283" y="6588033"/>
                </a:cubicBezTo>
                <a:cubicBezTo>
                  <a:pt x="4701272" y="6589013"/>
                  <a:pt x="4706394" y="6589904"/>
                  <a:pt x="4712096" y="6589904"/>
                </a:cubicBezTo>
                <a:cubicBezTo>
                  <a:pt x="4742766" y="6589904"/>
                  <a:pt x="4773057" y="6579636"/>
                  <a:pt x="4773057" y="6545893"/>
                </a:cubicBezTo>
                <a:cubicBezTo>
                  <a:pt x="4773057" y="6512149"/>
                  <a:pt x="4745417" y="6505267"/>
                  <a:pt x="4716618" y="6505267"/>
                </a:cubicBezTo>
                <a:close/>
                <a:moveTo>
                  <a:pt x="4308733" y="6503396"/>
                </a:moveTo>
                <a:cubicBezTo>
                  <a:pt x="4277885" y="6503396"/>
                  <a:pt x="4255322" y="6519833"/>
                  <a:pt x="4255322" y="6546271"/>
                </a:cubicBezTo>
                <a:cubicBezTo>
                  <a:pt x="4255322" y="6570148"/>
                  <a:pt x="4268775" y="6578679"/>
                  <a:pt x="4285035" y="6583156"/>
                </a:cubicBezTo>
                <a:cubicBezTo>
                  <a:pt x="4292763" y="6585271"/>
                  <a:pt x="4304479" y="6587298"/>
                  <a:pt x="4312119" y="6589548"/>
                </a:cubicBezTo>
                <a:cubicBezTo>
                  <a:pt x="4318221" y="6591352"/>
                  <a:pt x="4321540" y="6594069"/>
                  <a:pt x="4321540" y="6599326"/>
                </a:cubicBezTo>
                <a:cubicBezTo>
                  <a:pt x="4321540" y="6610618"/>
                  <a:pt x="4308577" y="6611754"/>
                  <a:pt x="4299334" y="6611754"/>
                </a:cubicBezTo>
                <a:cubicBezTo>
                  <a:pt x="4287485" y="6611754"/>
                  <a:pt x="4272940" y="6607210"/>
                  <a:pt x="4262851" y="6603112"/>
                </a:cubicBezTo>
                <a:lnTo>
                  <a:pt x="4251937" y="6629060"/>
                </a:lnTo>
                <a:cubicBezTo>
                  <a:pt x="4268954" y="6635876"/>
                  <a:pt x="4285057" y="6639217"/>
                  <a:pt x="4304991" y="6639217"/>
                </a:cubicBezTo>
                <a:cubicBezTo>
                  <a:pt x="4335639" y="6639217"/>
                  <a:pt x="4361431" y="6623893"/>
                  <a:pt x="4361431" y="6595962"/>
                </a:cubicBezTo>
                <a:lnTo>
                  <a:pt x="4361386" y="6595962"/>
                </a:lnTo>
                <a:cubicBezTo>
                  <a:pt x="4361386" y="6569190"/>
                  <a:pt x="4344904" y="6559435"/>
                  <a:pt x="4327910" y="6555693"/>
                </a:cubicBezTo>
                <a:cubicBezTo>
                  <a:pt x="4319602" y="6553867"/>
                  <a:pt x="4309713" y="6552085"/>
                  <a:pt x="4303454" y="6550058"/>
                </a:cubicBezTo>
                <a:cubicBezTo>
                  <a:pt x="4297619" y="6548187"/>
                  <a:pt x="4295547" y="6543977"/>
                  <a:pt x="4295547" y="6540659"/>
                </a:cubicBezTo>
                <a:cubicBezTo>
                  <a:pt x="4295547" y="6533932"/>
                  <a:pt x="4303031" y="6529745"/>
                  <a:pt x="4313989" y="6529745"/>
                </a:cubicBezTo>
                <a:cubicBezTo>
                  <a:pt x="4324101" y="6529745"/>
                  <a:pt x="4338289" y="6533086"/>
                  <a:pt x="4343345" y="6535380"/>
                </a:cubicBezTo>
                <a:lnTo>
                  <a:pt x="4353502" y="6509410"/>
                </a:lnTo>
                <a:cubicBezTo>
                  <a:pt x="4342053" y="6506091"/>
                  <a:pt x="4329113" y="6503396"/>
                  <a:pt x="4308733" y="6503396"/>
                </a:cubicBezTo>
                <a:close/>
                <a:moveTo>
                  <a:pt x="5124949" y="6469184"/>
                </a:moveTo>
                <a:lnTo>
                  <a:pt x="5085080" y="6480476"/>
                </a:lnTo>
                <a:lnTo>
                  <a:pt x="5085080" y="6508674"/>
                </a:lnTo>
                <a:lnTo>
                  <a:pt x="5064767" y="6508674"/>
                </a:lnTo>
                <a:lnTo>
                  <a:pt x="5064767" y="6534266"/>
                </a:lnTo>
                <a:lnTo>
                  <a:pt x="5085080" y="6534266"/>
                </a:lnTo>
                <a:lnTo>
                  <a:pt x="5085080" y="6601597"/>
                </a:lnTo>
                <a:cubicBezTo>
                  <a:pt x="5085080" y="6631175"/>
                  <a:pt x="5106484" y="6639595"/>
                  <a:pt x="5130584" y="6639595"/>
                </a:cubicBezTo>
                <a:cubicBezTo>
                  <a:pt x="5138535" y="6639595"/>
                  <a:pt x="5150785" y="6638214"/>
                  <a:pt x="5159939" y="6636588"/>
                </a:cubicBezTo>
                <a:lnTo>
                  <a:pt x="5157289" y="6610617"/>
                </a:lnTo>
                <a:cubicBezTo>
                  <a:pt x="5153035" y="6611196"/>
                  <a:pt x="5148803" y="6611753"/>
                  <a:pt x="5144883" y="6611753"/>
                </a:cubicBezTo>
                <a:cubicBezTo>
                  <a:pt x="5133635" y="6611753"/>
                  <a:pt x="5124949" y="6608702"/>
                  <a:pt x="5124949" y="6592198"/>
                </a:cubicBezTo>
                <a:lnTo>
                  <a:pt x="5124949" y="6534266"/>
                </a:lnTo>
                <a:lnTo>
                  <a:pt x="5159939" y="6534266"/>
                </a:lnTo>
                <a:lnTo>
                  <a:pt x="5159939" y="6508674"/>
                </a:lnTo>
                <a:lnTo>
                  <a:pt x="5124949" y="6508674"/>
                </a:lnTo>
                <a:close/>
                <a:moveTo>
                  <a:pt x="4849186" y="6399470"/>
                </a:moveTo>
                <a:cubicBezTo>
                  <a:pt x="4821924" y="6403368"/>
                  <a:pt x="4781343" y="6410473"/>
                  <a:pt x="4758936" y="6432879"/>
                </a:cubicBezTo>
                <a:cubicBezTo>
                  <a:pt x="4747221" y="6444573"/>
                  <a:pt x="4743568" y="6459050"/>
                  <a:pt x="4743568" y="6475332"/>
                </a:cubicBezTo>
                <a:cubicBezTo>
                  <a:pt x="4743568" y="6484798"/>
                  <a:pt x="4744793" y="6494732"/>
                  <a:pt x="4747622" y="6503774"/>
                </a:cubicBezTo>
                <a:cubicBezTo>
                  <a:pt x="4752522" y="6500233"/>
                  <a:pt x="4764193" y="6499721"/>
                  <a:pt x="4770206" y="6499721"/>
                </a:cubicBezTo>
                <a:cubicBezTo>
                  <a:pt x="4787490" y="6499721"/>
                  <a:pt x="4802168" y="6500233"/>
                  <a:pt x="4818026" y="6484375"/>
                </a:cubicBezTo>
                <a:cubicBezTo>
                  <a:pt x="4837760" y="6464663"/>
                  <a:pt x="4828985" y="6433704"/>
                  <a:pt x="4849164" y="6399515"/>
                </a:cubicBezTo>
                <a:close/>
                <a:moveTo>
                  <a:pt x="0" y="0"/>
                </a:moveTo>
                <a:lnTo>
                  <a:pt x="5588000" y="0"/>
                </a:lnTo>
                <a:lnTo>
                  <a:pt x="5588000" y="6858000"/>
                </a:lnTo>
                <a:lnTo>
                  <a:pt x="0" y="6858000"/>
                </a:lnTo>
                <a:close/>
              </a:path>
            </a:pathLst>
          </a:custGeom>
          <a:pattFill prst="ltVert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ru-RU"/>
              <a:t>Вставка рисун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72352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346200" y="1650999"/>
            <a:ext cx="4672997" cy="376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3740" y="1650999"/>
            <a:ext cx="4800000" cy="376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3572C-12F5-47C0-A119-BE3602A66766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>Classification: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58064968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0_Big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28A18227-4686-E716-55B0-C3268C4914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604000" y="0"/>
            <a:ext cx="5588000" cy="6858000"/>
          </a:xfrm>
          <a:custGeom>
            <a:avLst/>
            <a:gdLst>
              <a:gd name="connsiteX0" fmla="*/ 4692919 w 5588000"/>
              <a:gd name="connsiteY0" fmla="*/ 6643760 h 6858000"/>
              <a:gd name="connsiteX1" fmla="*/ 4727910 w 5588000"/>
              <a:gd name="connsiteY1" fmla="*/ 6643760 h 6858000"/>
              <a:gd name="connsiteX2" fmla="*/ 4744838 w 5588000"/>
              <a:gd name="connsiteY2" fmla="*/ 6658037 h 6858000"/>
              <a:gd name="connsiteX3" fmla="*/ 4712475 w 5588000"/>
              <a:gd name="connsiteY3" fmla="*/ 6681001 h 6858000"/>
              <a:gd name="connsiteX4" fmla="*/ 4679377 w 5588000"/>
              <a:gd name="connsiteY4" fmla="*/ 6662180 h 6858000"/>
              <a:gd name="connsiteX5" fmla="*/ 4692919 w 5588000"/>
              <a:gd name="connsiteY5" fmla="*/ 6643760 h 6858000"/>
              <a:gd name="connsiteX6" fmla="*/ 5243574 w 5588000"/>
              <a:gd name="connsiteY6" fmla="*/ 6579035 h 6858000"/>
              <a:gd name="connsiteX7" fmla="*/ 5243574 w 5588000"/>
              <a:gd name="connsiteY7" fmla="*/ 6602733 h 6858000"/>
              <a:gd name="connsiteX8" fmla="*/ 5224018 w 5588000"/>
              <a:gd name="connsiteY8" fmla="*/ 6612511 h 6858000"/>
              <a:gd name="connsiteX9" fmla="*/ 5207848 w 5588000"/>
              <a:gd name="connsiteY9" fmla="*/ 6598212 h 6858000"/>
              <a:gd name="connsiteX10" fmla="*/ 5243574 w 5588000"/>
              <a:gd name="connsiteY10" fmla="*/ 6579035 h 6858000"/>
              <a:gd name="connsiteX11" fmla="*/ 4850835 w 5588000"/>
              <a:gd name="connsiteY11" fmla="*/ 6532751 h 6858000"/>
              <a:gd name="connsiteX12" fmla="*/ 4871126 w 5588000"/>
              <a:gd name="connsiteY12" fmla="*/ 6555692 h 6858000"/>
              <a:gd name="connsiteX13" fmla="*/ 4827114 w 5588000"/>
              <a:gd name="connsiteY13" fmla="*/ 6555692 h 6858000"/>
              <a:gd name="connsiteX14" fmla="*/ 4850835 w 5588000"/>
              <a:gd name="connsiteY14" fmla="*/ 6532751 h 6858000"/>
              <a:gd name="connsiteX15" fmla="*/ 4715125 w 5588000"/>
              <a:gd name="connsiteY15" fmla="*/ 6528253 h 6858000"/>
              <a:gd name="connsiteX16" fmla="*/ 4734302 w 5588000"/>
              <a:gd name="connsiteY16" fmla="*/ 6547808 h 6858000"/>
              <a:gd name="connsiteX17" fmla="*/ 4714368 w 5588000"/>
              <a:gd name="connsiteY17" fmla="*/ 6567364 h 6858000"/>
              <a:gd name="connsiteX18" fmla="*/ 4695570 w 5588000"/>
              <a:gd name="connsiteY18" fmla="*/ 6547808 h 6858000"/>
              <a:gd name="connsiteX19" fmla="*/ 4715125 w 5588000"/>
              <a:gd name="connsiteY19" fmla="*/ 6528253 h 6858000"/>
              <a:gd name="connsiteX20" fmla="*/ 4361988 w 5588000"/>
              <a:gd name="connsiteY20" fmla="*/ 6508674 h 6858000"/>
              <a:gd name="connsiteX21" fmla="*/ 4411657 w 5588000"/>
              <a:gd name="connsiteY21" fmla="*/ 6636966 h 6858000"/>
              <a:gd name="connsiteX22" fmla="*/ 4407893 w 5588000"/>
              <a:gd name="connsiteY22" fmla="*/ 6645987 h 6858000"/>
              <a:gd name="connsiteX23" fmla="*/ 4375530 w 5588000"/>
              <a:gd name="connsiteY23" fmla="*/ 6678350 h 6858000"/>
              <a:gd name="connsiteX24" fmla="*/ 4358224 w 5588000"/>
              <a:gd name="connsiteY24" fmla="*/ 6676100 h 6858000"/>
              <a:gd name="connsiteX25" fmla="*/ 4352589 w 5588000"/>
              <a:gd name="connsiteY25" fmla="*/ 6701669 h 6858000"/>
              <a:gd name="connsiteX26" fmla="*/ 4381922 w 5588000"/>
              <a:gd name="connsiteY26" fmla="*/ 6705433 h 6858000"/>
              <a:gd name="connsiteX27" fmla="*/ 4438362 w 5588000"/>
              <a:gd name="connsiteY27" fmla="*/ 6664050 h 6858000"/>
              <a:gd name="connsiteX28" fmla="*/ 4502308 w 5588000"/>
              <a:gd name="connsiteY28" fmla="*/ 6508674 h 6858000"/>
              <a:gd name="connsiteX29" fmla="*/ 4502286 w 5588000"/>
              <a:gd name="connsiteY29" fmla="*/ 6508674 h 6858000"/>
              <a:gd name="connsiteX30" fmla="*/ 4465045 w 5588000"/>
              <a:gd name="connsiteY30" fmla="*/ 6508674 h 6858000"/>
              <a:gd name="connsiteX31" fmla="*/ 4440968 w 5588000"/>
              <a:gd name="connsiteY31" fmla="*/ 6571127 h 6858000"/>
              <a:gd name="connsiteX32" fmla="*/ 4433818 w 5588000"/>
              <a:gd name="connsiteY32" fmla="*/ 6593334 h 6858000"/>
              <a:gd name="connsiteX33" fmla="*/ 4428183 w 5588000"/>
              <a:gd name="connsiteY33" fmla="*/ 6572263 h 6858000"/>
              <a:gd name="connsiteX34" fmla="*/ 4404864 w 5588000"/>
              <a:gd name="connsiteY34" fmla="*/ 6508674 h 6858000"/>
              <a:gd name="connsiteX35" fmla="*/ 5231925 w 5588000"/>
              <a:gd name="connsiteY35" fmla="*/ 6505690 h 6858000"/>
              <a:gd name="connsiteX36" fmla="*/ 5173993 w 5588000"/>
              <a:gd name="connsiteY36" fmla="*/ 6521482 h 6858000"/>
              <a:gd name="connsiteX37" fmla="*/ 5183771 w 5588000"/>
              <a:gd name="connsiteY37" fmla="*/ 6545180 h 6858000"/>
              <a:gd name="connsiteX38" fmla="*/ 5220655 w 5588000"/>
              <a:gd name="connsiteY38" fmla="*/ 6533130 h 6858000"/>
              <a:gd name="connsiteX39" fmla="*/ 5243574 w 5588000"/>
              <a:gd name="connsiteY39" fmla="*/ 6551194 h 6858000"/>
              <a:gd name="connsiteX40" fmla="*/ 5243574 w 5588000"/>
              <a:gd name="connsiteY40" fmla="*/ 6554579 h 6858000"/>
              <a:gd name="connsiteX41" fmla="*/ 5167957 w 5588000"/>
              <a:gd name="connsiteY41" fmla="*/ 6603869 h 6858000"/>
              <a:gd name="connsiteX42" fmla="*/ 5208204 w 5588000"/>
              <a:gd name="connsiteY42" fmla="*/ 6639595 h 6858000"/>
              <a:gd name="connsiteX43" fmla="*/ 5244710 w 5588000"/>
              <a:gd name="connsiteY43" fmla="*/ 6626810 h 6858000"/>
              <a:gd name="connsiteX44" fmla="*/ 5244710 w 5588000"/>
              <a:gd name="connsiteY44" fmla="*/ 6636967 h 6858000"/>
              <a:gd name="connsiteX45" fmla="*/ 5282329 w 5588000"/>
              <a:gd name="connsiteY45" fmla="*/ 6636967 h 6858000"/>
              <a:gd name="connsiteX46" fmla="*/ 5282351 w 5588000"/>
              <a:gd name="connsiteY46" fmla="*/ 6636989 h 6858000"/>
              <a:gd name="connsiteX47" fmla="*/ 5282351 w 5588000"/>
              <a:gd name="connsiteY47" fmla="*/ 6545937 h 6858000"/>
              <a:gd name="connsiteX48" fmla="*/ 5231925 w 5588000"/>
              <a:gd name="connsiteY48" fmla="*/ 6505690 h 6858000"/>
              <a:gd name="connsiteX49" fmla="*/ 5012380 w 5588000"/>
              <a:gd name="connsiteY49" fmla="*/ 6505667 h 6858000"/>
              <a:gd name="connsiteX50" fmla="*/ 4968369 w 5588000"/>
              <a:gd name="connsiteY50" fmla="*/ 6519966 h 6858000"/>
              <a:gd name="connsiteX51" fmla="*/ 4968369 w 5588000"/>
              <a:gd name="connsiteY51" fmla="*/ 6508674 h 6858000"/>
              <a:gd name="connsiteX52" fmla="*/ 4929614 w 5588000"/>
              <a:gd name="connsiteY52" fmla="*/ 6508674 h 6858000"/>
              <a:gd name="connsiteX53" fmla="*/ 4929614 w 5588000"/>
              <a:gd name="connsiteY53" fmla="*/ 6636944 h 6858000"/>
              <a:gd name="connsiteX54" fmla="*/ 4969505 w 5588000"/>
              <a:gd name="connsiteY54" fmla="*/ 6636944 h 6858000"/>
              <a:gd name="connsiteX55" fmla="*/ 4969505 w 5588000"/>
              <a:gd name="connsiteY55" fmla="*/ 6546672 h 6858000"/>
              <a:gd name="connsiteX56" fmla="*/ 4993938 w 5588000"/>
              <a:gd name="connsiteY56" fmla="*/ 6535758 h 6858000"/>
              <a:gd name="connsiteX57" fmla="*/ 5012737 w 5588000"/>
              <a:gd name="connsiteY57" fmla="*/ 6554578 h 6858000"/>
              <a:gd name="connsiteX58" fmla="*/ 5012737 w 5588000"/>
              <a:gd name="connsiteY58" fmla="*/ 6636966 h 6858000"/>
              <a:gd name="connsiteX59" fmla="*/ 5052628 w 5588000"/>
              <a:gd name="connsiteY59" fmla="*/ 6636966 h 6858000"/>
              <a:gd name="connsiteX60" fmla="*/ 5052628 w 5588000"/>
              <a:gd name="connsiteY60" fmla="*/ 6636944 h 6858000"/>
              <a:gd name="connsiteX61" fmla="*/ 5052628 w 5588000"/>
              <a:gd name="connsiteY61" fmla="*/ 6545536 h 6858000"/>
              <a:gd name="connsiteX62" fmla="*/ 5012380 w 5588000"/>
              <a:gd name="connsiteY62" fmla="*/ 6505667 h 6858000"/>
              <a:gd name="connsiteX63" fmla="*/ 4852350 w 5588000"/>
              <a:gd name="connsiteY63" fmla="*/ 6505667 h 6858000"/>
              <a:gd name="connsiteX64" fmla="*/ 4784662 w 5588000"/>
              <a:gd name="connsiteY64" fmla="*/ 6572998 h 6858000"/>
              <a:gd name="connsiteX65" fmla="*/ 4849343 w 5588000"/>
              <a:gd name="connsiteY65" fmla="*/ 6639594 h 6858000"/>
              <a:gd name="connsiteX66" fmla="*/ 4906896 w 5588000"/>
              <a:gd name="connsiteY66" fmla="*/ 6624916 h 6858000"/>
              <a:gd name="connsiteX67" fmla="*/ 4896361 w 5588000"/>
              <a:gd name="connsiteY67" fmla="*/ 6601218 h 6858000"/>
              <a:gd name="connsiteX68" fmla="*/ 4863620 w 5588000"/>
              <a:gd name="connsiteY68" fmla="*/ 6610996 h 6858000"/>
              <a:gd name="connsiteX69" fmla="*/ 4826758 w 5588000"/>
              <a:gd name="connsiteY69" fmla="*/ 6581284 h 6858000"/>
              <a:gd name="connsiteX70" fmla="*/ 4911774 w 5588000"/>
              <a:gd name="connsiteY70" fmla="*/ 6581284 h 6858000"/>
              <a:gd name="connsiteX71" fmla="*/ 4912152 w 5588000"/>
              <a:gd name="connsiteY71" fmla="*/ 6568120 h 6858000"/>
              <a:gd name="connsiteX72" fmla="*/ 4912175 w 5588000"/>
              <a:gd name="connsiteY72" fmla="*/ 6568120 h 6858000"/>
              <a:gd name="connsiteX73" fmla="*/ 4852350 w 5588000"/>
              <a:gd name="connsiteY73" fmla="*/ 6505667 h 6858000"/>
              <a:gd name="connsiteX74" fmla="*/ 4593315 w 5588000"/>
              <a:gd name="connsiteY74" fmla="*/ 6505667 h 6858000"/>
              <a:gd name="connsiteX75" fmla="*/ 4549304 w 5588000"/>
              <a:gd name="connsiteY75" fmla="*/ 6519966 h 6858000"/>
              <a:gd name="connsiteX76" fmla="*/ 4549304 w 5588000"/>
              <a:gd name="connsiteY76" fmla="*/ 6508674 h 6858000"/>
              <a:gd name="connsiteX77" fmla="*/ 4510549 w 5588000"/>
              <a:gd name="connsiteY77" fmla="*/ 6508674 h 6858000"/>
              <a:gd name="connsiteX78" fmla="*/ 4510549 w 5588000"/>
              <a:gd name="connsiteY78" fmla="*/ 6636944 h 6858000"/>
              <a:gd name="connsiteX79" fmla="*/ 4550418 w 5588000"/>
              <a:gd name="connsiteY79" fmla="*/ 6636944 h 6858000"/>
              <a:gd name="connsiteX80" fmla="*/ 4550418 w 5588000"/>
              <a:gd name="connsiteY80" fmla="*/ 6546672 h 6858000"/>
              <a:gd name="connsiteX81" fmla="*/ 4574873 w 5588000"/>
              <a:gd name="connsiteY81" fmla="*/ 6535758 h 6858000"/>
              <a:gd name="connsiteX82" fmla="*/ 4593672 w 5588000"/>
              <a:gd name="connsiteY82" fmla="*/ 6554578 h 6858000"/>
              <a:gd name="connsiteX83" fmla="*/ 4593672 w 5588000"/>
              <a:gd name="connsiteY83" fmla="*/ 6636966 h 6858000"/>
              <a:gd name="connsiteX84" fmla="*/ 4633563 w 5588000"/>
              <a:gd name="connsiteY84" fmla="*/ 6636966 h 6858000"/>
              <a:gd name="connsiteX85" fmla="*/ 4633585 w 5588000"/>
              <a:gd name="connsiteY85" fmla="*/ 6636944 h 6858000"/>
              <a:gd name="connsiteX86" fmla="*/ 4633585 w 5588000"/>
              <a:gd name="connsiteY86" fmla="*/ 6545536 h 6858000"/>
              <a:gd name="connsiteX87" fmla="*/ 4593315 w 5588000"/>
              <a:gd name="connsiteY87" fmla="*/ 6505667 h 6858000"/>
              <a:gd name="connsiteX88" fmla="*/ 4716618 w 5588000"/>
              <a:gd name="connsiteY88" fmla="*/ 6505267 h 6858000"/>
              <a:gd name="connsiteX89" fmla="*/ 4656815 w 5588000"/>
              <a:gd name="connsiteY89" fmla="*/ 6547029 h 6858000"/>
              <a:gd name="connsiteX90" fmla="*/ 4674121 w 5588000"/>
              <a:gd name="connsiteY90" fmla="*/ 6578256 h 6858000"/>
              <a:gd name="connsiteX91" fmla="*/ 4649665 w 5588000"/>
              <a:gd name="connsiteY91" fmla="*/ 6609861 h 6858000"/>
              <a:gd name="connsiteX92" fmla="*/ 4656058 w 5588000"/>
              <a:gd name="connsiteY92" fmla="*/ 6629795 h 6858000"/>
              <a:gd name="connsiteX93" fmla="*/ 4667729 w 5588000"/>
              <a:gd name="connsiteY93" fmla="*/ 6638081 h 6858000"/>
              <a:gd name="connsiteX94" fmla="*/ 4647037 w 5588000"/>
              <a:gd name="connsiteY94" fmla="*/ 6667437 h 6858000"/>
              <a:gd name="connsiteX95" fmla="*/ 4710604 w 5588000"/>
              <a:gd name="connsiteY95" fmla="*/ 6707684 h 6858000"/>
              <a:gd name="connsiteX96" fmla="*/ 4784706 w 5588000"/>
              <a:gd name="connsiteY96" fmla="*/ 6652759 h 6858000"/>
              <a:gd name="connsiteX97" fmla="*/ 4784706 w 5588000"/>
              <a:gd name="connsiteY97" fmla="*/ 6652736 h 6858000"/>
              <a:gd name="connsiteX98" fmla="*/ 4737666 w 5588000"/>
              <a:gd name="connsiteY98" fmla="*/ 6610240 h 6858000"/>
              <a:gd name="connsiteX99" fmla="*/ 4706060 w 5588000"/>
              <a:gd name="connsiteY99" fmla="*/ 6610240 h 6858000"/>
              <a:gd name="connsiteX100" fmla="*/ 4686505 w 5588000"/>
              <a:gd name="connsiteY100" fmla="*/ 6598947 h 6858000"/>
              <a:gd name="connsiteX101" fmla="*/ 4696283 w 5588000"/>
              <a:gd name="connsiteY101" fmla="*/ 6588033 h 6858000"/>
              <a:gd name="connsiteX102" fmla="*/ 4712096 w 5588000"/>
              <a:gd name="connsiteY102" fmla="*/ 6589904 h 6858000"/>
              <a:gd name="connsiteX103" fmla="*/ 4773057 w 5588000"/>
              <a:gd name="connsiteY103" fmla="*/ 6545893 h 6858000"/>
              <a:gd name="connsiteX104" fmla="*/ 4716618 w 5588000"/>
              <a:gd name="connsiteY104" fmla="*/ 6505267 h 6858000"/>
              <a:gd name="connsiteX105" fmla="*/ 4308733 w 5588000"/>
              <a:gd name="connsiteY105" fmla="*/ 6503396 h 6858000"/>
              <a:gd name="connsiteX106" fmla="*/ 4255322 w 5588000"/>
              <a:gd name="connsiteY106" fmla="*/ 6546271 h 6858000"/>
              <a:gd name="connsiteX107" fmla="*/ 4285035 w 5588000"/>
              <a:gd name="connsiteY107" fmla="*/ 6583156 h 6858000"/>
              <a:gd name="connsiteX108" fmla="*/ 4312119 w 5588000"/>
              <a:gd name="connsiteY108" fmla="*/ 6589548 h 6858000"/>
              <a:gd name="connsiteX109" fmla="*/ 4321540 w 5588000"/>
              <a:gd name="connsiteY109" fmla="*/ 6599326 h 6858000"/>
              <a:gd name="connsiteX110" fmla="*/ 4299334 w 5588000"/>
              <a:gd name="connsiteY110" fmla="*/ 6611754 h 6858000"/>
              <a:gd name="connsiteX111" fmla="*/ 4262851 w 5588000"/>
              <a:gd name="connsiteY111" fmla="*/ 6603112 h 6858000"/>
              <a:gd name="connsiteX112" fmla="*/ 4251937 w 5588000"/>
              <a:gd name="connsiteY112" fmla="*/ 6629060 h 6858000"/>
              <a:gd name="connsiteX113" fmla="*/ 4304991 w 5588000"/>
              <a:gd name="connsiteY113" fmla="*/ 6639217 h 6858000"/>
              <a:gd name="connsiteX114" fmla="*/ 4361431 w 5588000"/>
              <a:gd name="connsiteY114" fmla="*/ 6595962 h 6858000"/>
              <a:gd name="connsiteX115" fmla="*/ 4361386 w 5588000"/>
              <a:gd name="connsiteY115" fmla="*/ 6595962 h 6858000"/>
              <a:gd name="connsiteX116" fmla="*/ 4327910 w 5588000"/>
              <a:gd name="connsiteY116" fmla="*/ 6555693 h 6858000"/>
              <a:gd name="connsiteX117" fmla="*/ 4303454 w 5588000"/>
              <a:gd name="connsiteY117" fmla="*/ 6550058 h 6858000"/>
              <a:gd name="connsiteX118" fmla="*/ 4295547 w 5588000"/>
              <a:gd name="connsiteY118" fmla="*/ 6540659 h 6858000"/>
              <a:gd name="connsiteX119" fmla="*/ 4313989 w 5588000"/>
              <a:gd name="connsiteY119" fmla="*/ 6529745 h 6858000"/>
              <a:gd name="connsiteX120" fmla="*/ 4343345 w 5588000"/>
              <a:gd name="connsiteY120" fmla="*/ 6535380 h 6858000"/>
              <a:gd name="connsiteX121" fmla="*/ 4353502 w 5588000"/>
              <a:gd name="connsiteY121" fmla="*/ 6509410 h 6858000"/>
              <a:gd name="connsiteX122" fmla="*/ 4308733 w 5588000"/>
              <a:gd name="connsiteY122" fmla="*/ 6503396 h 6858000"/>
              <a:gd name="connsiteX123" fmla="*/ 5124949 w 5588000"/>
              <a:gd name="connsiteY123" fmla="*/ 6469184 h 6858000"/>
              <a:gd name="connsiteX124" fmla="*/ 5085080 w 5588000"/>
              <a:gd name="connsiteY124" fmla="*/ 6480476 h 6858000"/>
              <a:gd name="connsiteX125" fmla="*/ 5085080 w 5588000"/>
              <a:gd name="connsiteY125" fmla="*/ 6508674 h 6858000"/>
              <a:gd name="connsiteX126" fmla="*/ 5064767 w 5588000"/>
              <a:gd name="connsiteY126" fmla="*/ 6508674 h 6858000"/>
              <a:gd name="connsiteX127" fmla="*/ 5064767 w 5588000"/>
              <a:gd name="connsiteY127" fmla="*/ 6534266 h 6858000"/>
              <a:gd name="connsiteX128" fmla="*/ 5085080 w 5588000"/>
              <a:gd name="connsiteY128" fmla="*/ 6534266 h 6858000"/>
              <a:gd name="connsiteX129" fmla="*/ 5085080 w 5588000"/>
              <a:gd name="connsiteY129" fmla="*/ 6601597 h 6858000"/>
              <a:gd name="connsiteX130" fmla="*/ 5130584 w 5588000"/>
              <a:gd name="connsiteY130" fmla="*/ 6639595 h 6858000"/>
              <a:gd name="connsiteX131" fmla="*/ 5159939 w 5588000"/>
              <a:gd name="connsiteY131" fmla="*/ 6636588 h 6858000"/>
              <a:gd name="connsiteX132" fmla="*/ 5157289 w 5588000"/>
              <a:gd name="connsiteY132" fmla="*/ 6610617 h 6858000"/>
              <a:gd name="connsiteX133" fmla="*/ 5144883 w 5588000"/>
              <a:gd name="connsiteY133" fmla="*/ 6611753 h 6858000"/>
              <a:gd name="connsiteX134" fmla="*/ 5124949 w 5588000"/>
              <a:gd name="connsiteY134" fmla="*/ 6592198 h 6858000"/>
              <a:gd name="connsiteX135" fmla="*/ 5124949 w 5588000"/>
              <a:gd name="connsiteY135" fmla="*/ 6534266 h 6858000"/>
              <a:gd name="connsiteX136" fmla="*/ 5159939 w 5588000"/>
              <a:gd name="connsiteY136" fmla="*/ 6534266 h 6858000"/>
              <a:gd name="connsiteX137" fmla="*/ 5159939 w 5588000"/>
              <a:gd name="connsiteY137" fmla="*/ 6508674 h 6858000"/>
              <a:gd name="connsiteX138" fmla="*/ 5124949 w 5588000"/>
              <a:gd name="connsiteY138" fmla="*/ 6508674 h 6858000"/>
              <a:gd name="connsiteX139" fmla="*/ 4849186 w 5588000"/>
              <a:gd name="connsiteY139" fmla="*/ 6399470 h 6858000"/>
              <a:gd name="connsiteX140" fmla="*/ 4758936 w 5588000"/>
              <a:gd name="connsiteY140" fmla="*/ 6432879 h 6858000"/>
              <a:gd name="connsiteX141" fmla="*/ 4743568 w 5588000"/>
              <a:gd name="connsiteY141" fmla="*/ 6475332 h 6858000"/>
              <a:gd name="connsiteX142" fmla="*/ 4747622 w 5588000"/>
              <a:gd name="connsiteY142" fmla="*/ 6503774 h 6858000"/>
              <a:gd name="connsiteX143" fmla="*/ 4770206 w 5588000"/>
              <a:gd name="connsiteY143" fmla="*/ 6499721 h 6858000"/>
              <a:gd name="connsiteX144" fmla="*/ 4818026 w 5588000"/>
              <a:gd name="connsiteY144" fmla="*/ 6484375 h 6858000"/>
              <a:gd name="connsiteX145" fmla="*/ 4849164 w 5588000"/>
              <a:gd name="connsiteY145" fmla="*/ 6399515 h 6858000"/>
              <a:gd name="connsiteX146" fmla="*/ 4350834 w 5588000"/>
              <a:gd name="connsiteY146" fmla="*/ 1926977 h 6858000"/>
              <a:gd name="connsiteX147" fmla="*/ 4350834 w 5588000"/>
              <a:gd name="connsiteY147" fmla="*/ 1926979 h 6858000"/>
              <a:gd name="connsiteX148" fmla="*/ 3964528 w 5588000"/>
              <a:gd name="connsiteY148" fmla="*/ 3247847 h 6858000"/>
              <a:gd name="connsiteX149" fmla="*/ 3476614 w 5588000"/>
              <a:gd name="connsiteY149" fmla="*/ 4474071 h 6858000"/>
              <a:gd name="connsiteX150" fmla="*/ 2027490 w 5588000"/>
              <a:gd name="connsiteY150" fmla="*/ 4945503 h 6858000"/>
              <a:gd name="connsiteX151" fmla="*/ 1974397 w 5588000"/>
              <a:gd name="connsiteY151" fmla="*/ 4945503 h 6858000"/>
              <a:gd name="connsiteX152" fmla="*/ 1317566 w 5588000"/>
              <a:gd name="connsiteY152" fmla="*/ 5019898 h 6858000"/>
              <a:gd name="connsiteX153" fmla="*/ 1236208 w 5588000"/>
              <a:gd name="connsiteY153" fmla="*/ 4284098 h 6858000"/>
              <a:gd name="connsiteX154" fmla="*/ 1236208 w 5588000"/>
              <a:gd name="connsiteY154" fmla="*/ 4284097 h 6858000"/>
              <a:gd name="connsiteX155" fmla="*/ 1236208 w 5588000"/>
              <a:gd name="connsiteY155" fmla="*/ 4284096 h 6858000"/>
              <a:gd name="connsiteX156" fmla="*/ 1707559 w 5588000"/>
              <a:gd name="connsiteY156" fmla="*/ 2964038 h 6858000"/>
              <a:gd name="connsiteX157" fmla="*/ 4350834 w 5588000"/>
              <a:gd name="connsiteY157" fmla="*/ 1926977 h 6858000"/>
              <a:gd name="connsiteX158" fmla="*/ 4959350 w 5588000"/>
              <a:gd name="connsiteY158" fmla="*/ 1508758 h 6858000"/>
              <a:gd name="connsiteX159" fmla="*/ 4623060 w 5588000"/>
              <a:gd name="connsiteY159" fmla="*/ 1556586 h 6858000"/>
              <a:gd name="connsiteX160" fmla="*/ 1476722 w 5588000"/>
              <a:gd name="connsiteY160" fmla="*/ 2732959 h 6858000"/>
              <a:gd name="connsiteX161" fmla="*/ 909594 w 5588000"/>
              <a:gd name="connsiteY161" fmla="*/ 4284096 h 6858000"/>
              <a:gd name="connsiteX162" fmla="*/ 1054617 w 5588000"/>
              <a:gd name="connsiteY162" fmla="*/ 5295400 h 6858000"/>
              <a:gd name="connsiteX163" fmla="*/ 1124434 w 5588000"/>
              <a:gd name="connsiteY163" fmla="*/ 5516880 h 6858000"/>
              <a:gd name="connsiteX164" fmla="*/ 1156671 w 5588000"/>
              <a:gd name="connsiteY164" fmla="*/ 5486874 h 6858000"/>
              <a:gd name="connsiteX165" fmla="*/ 1319268 w 5588000"/>
              <a:gd name="connsiteY165" fmla="*/ 5369592 h 6858000"/>
              <a:gd name="connsiteX166" fmla="*/ 1974397 w 5588000"/>
              <a:gd name="connsiteY166" fmla="*/ 5272074 h 6858000"/>
              <a:gd name="connsiteX167" fmla="*/ 2027166 w 5588000"/>
              <a:gd name="connsiteY167" fmla="*/ 5272074 h 6858000"/>
              <a:gd name="connsiteX168" fmla="*/ 3707613 w 5588000"/>
              <a:gd name="connsiteY168" fmla="*/ 4704987 h 6858000"/>
              <a:gd name="connsiteX169" fmla="*/ 4285310 w 5588000"/>
              <a:gd name="connsiteY169" fmla="*/ 3309400 h 6858000"/>
              <a:gd name="connsiteX170" fmla="*/ 4786750 w 5588000"/>
              <a:gd name="connsiteY170" fmla="*/ 1801232 h 6858000"/>
              <a:gd name="connsiteX171" fmla="*/ 0 w 5588000"/>
              <a:gd name="connsiteY171" fmla="*/ 0 h 6858000"/>
              <a:gd name="connsiteX172" fmla="*/ 5588000 w 5588000"/>
              <a:gd name="connsiteY172" fmla="*/ 0 h 6858000"/>
              <a:gd name="connsiteX173" fmla="*/ 5588000 w 5588000"/>
              <a:gd name="connsiteY173" fmla="*/ 6858000 h 6858000"/>
              <a:gd name="connsiteX174" fmla="*/ 0 w 5588000"/>
              <a:gd name="connsiteY17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</a:cxnLst>
            <a:rect l="l" t="t" r="r" b="b"/>
            <a:pathLst>
              <a:path w="5588000" h="6858000">
                <a:moveTo>
                  <a:pt x="4692919" y="6643760"/>
                </a:moveTo>
                <a:lnTo>
                  <a:pt x="4727910" y="6643760"/>
                </a:lnTo>
                <a:cubicBezTo>
                  <a:pt x="4736463" y="6643760"/>
                  <a:pt x="4744838" y="6647569"/>
                  <a:pt x="4744838" y="6658037"/>
                </a:cubicBezTo>
                <a:cubicBezTo>
                  <a:pt x="4744838" y="6672470"/>
                  <a:pt x="4730405" y="6681001"/>
                  <a:pt x="4712475" y="6681001"/>
                </a:cubicBezTo>
                <a:cubicBezTo>
                  <a:pt x="4694545" y="6681001"/>
                  <a:pt x="4679377" y="6673450"/>
                  <a:pt x="4679377" y="6662180"/>
                </a:cubicBezTo>
                <a:cubicBezTo>
                  <a:pt x="4679377" y="6653471"/>
                  <a:pt x="4687596" y="6646789"/>
                  <a:pt x="4692919" y="6643760"/>
                </a:cubicBezTo>
                <a:close/>
                <a:moveTo>
                  <a:pt x="5243574" y="6579035"/>
                </a:moveTo>
                <a:lnTo>
                  <a:pt x="5243574" y="6602733"/>
                </a:lnTo>
                <a:cubicBezTo>
                  <a:pt x="5238674" y="6608368"/>
                  <a:pt x="5232281" y="6612511"/>
                  <a:pt x="5224018" y="6612511"/>
                </a:cubicBezTo>
                <a:cubicBezTo>
                  <a:pt x="5217047" y="6612511"/>
                  <a:pt x="5207848" y="6609103"/>
                  <a:pt x="5207848" y="6598212"/>
                </a:cubicBezTo>
                <a:cubicBezTo>
                  <a:pt x="5207848" y="6580572"/>
                  <a:pt x="5225109" y="6578745"/>
                  <a:pt x="5243574" y="6579035"/>
                </a:cubicBezTo>
                <a:close/>
                <a:moveTo>
                  <a:pt x="4850835" y="6532751"/>
                </a:moveTo>
                <a:cubicBezTo>
                  <a:pt x="4864711" y="6532751"/>
                  <a:pt x="4871816" y="6541571"/>
                  <a:pt x="4871126" y="6555692"/>
                </a:cubicBezTo>
                <a:lnTo>
                  <a:pt x="4827114" y="6555692"/>
                </a:lnTo>
                <a:cubicBezTo>
                  <a:pt x="4829386" y="6542618"/>
                  <a:pt x="4836959" y="6532751"/>
                  <a:pt x="4850835" y="6532751"/>
                </a:cubicBezTo>
                <a:close/>
                <a:moveTo>
                  <a:pt x="4715125" y="6528253"/>
                </a:moveTo>
                <a:cubicBezTo>
                  <a:pt x="4728378" y="6528253"/>
                  <a:pt x="4734302" y="6537051"/>
                  <a:pt x="4734302" y="6547808"/>
                </a:cubicBezTo>
                <a:cubicBezTo>
                  <a:pt x="4734302" y="6558522"/>
                  <a:pt x="4727665" y="6567364"/>
                  <a:pt x="4714368" y="6567364"/>
                </a:cubicBezTo>
                <a:cubicBezTo>
                  <a:pt x="4702274" y="6567364"/>
                  <a:pt x="4695570" y="6558566"/>
                  <a:pt x="4695570" y="6547808"/>
                </a:cubicBezTo>
                <a:cubicBezTo>
                  <a:pt x="4695570" y="6538476"/>
                  <a:pt x="4703009" y="6528253"/>
                  <a:pt x="4715125" y="6528253"/>
                </a:cubicBezTo>
                <a:close/>
                <a:moveTo>
                  <a:pt x="4361988" y="6508674"/>
                </a:moveTo>
                <a:lnTo>
                  <a:pt x="4411657" y="6636966"/>
                </a:lnTo>
                <a:lnTo>
                  <a:pt x="4407893" y="6645987"/>
                </a:lnTo>
                <a:cubicBezTo>
                  <a:pt x="4400097" y="6664718"/>
                  <a:pt x="4391589" y="6678350"/>
                  <a:pt x="4375530" y="6678350"/>
                </a:cubicBezTo>
                <a:cubicBezTo>
                  <a:pt x="4370630" y="6678350"/>
                  <a:pt x="4365307" y="6677704"/>
                  <a:pt x="4358224" y="6676100"/>
                </a:cubicBezTo>
                <a:lnTo>
                  <a:pt x="4352589" y="6701669"/>
                </a:lnTo>
                <a:cubicBezTo>
                  <a:pt x="4361365" y="6703674"/>
                  <a:pt x="4368470" y="6705433"/>
                  <a:pt x="4381922" y="6705433"/>
                </a:cubicBezTo>
                <a:cubicBezTo>
                  <a:pt x="4408806" y="6705433"/>
                  <a:pt x="4428540" y="6687927"/>
                  <a:pt x="4438362" y="6664050"/>
                </a:cubicBezTo>
                <a:lnTo>
                  <a:pt x="4502308" y="6508674"/>
                </a:lnTo>
                <a:lnTo>
                  <a:pt x="4502286" y="6508674"/>
                </a:lnTo>
                <a:lnTo>
                  <a:pt x="4465045" y="6508674"/>
                </a:lnTo>
                <a:lnTo>
                  <a:pt x="4440968" y="6571127"/>
                </a:lnTo>
                <a:cubicBezTo>
                  <a:pt x="4438117" y="6578522"/>
                  <a:pt x="4435288" y="6587743"/>
                  <a:pt x="4433818" y="6593334"/>
                </a:cubicBezTo>
                <a:cubicBezTo>
                  <a:pt x="4432571" y="6587788"/>
                  <a:pt x="4430990" y="6579948"/>
                  <a:pt x="4428183" y="6572263"/>
                </a:cubicBezTo>
                <a:lnTo>
                  <a:pt x="4404864" y="6508674"/>
                </a:lnTo>
                <a:close/>
                <a:moveTo>
                  <a:pt x="5231925" y="6505690"/>
                </a:moveTo>
                <a:cubicBezTo>
                  <a:pt x="5211968" y="6505690"/>
                  <a:pt x="5190920" y="6512283"/>
                  <a:pt x="5173993" y="6521482"/>
                </a:cubicBezTo>
                <a:lnTo>
                  <a:pt x="5183771" y="6545180"/>
                </a:lnTo>
                <a:cubicBezTo>
                  <a:pt x="5193304" y="6539456"/>
                  <a:pt x="5207848" y="6533130"/>
                  <a:pt x="5220655" y="6533130"/>
                </a:cubicBezTo>
                <a:cubicBezTo>
                  <a:pt x="5239587" y="6533130"/>
                  <a:pt x="5243574" y="6540614"/>
                  <a:pt x="5243574" y="6551194"/>
                </a:cubicBezTo>
                <a:lnTo>
                  <a:pt x="5243574" y="6554579"/>
                </a:lnTo>
                <a:cubicBezTo>
                  <a:pt x="5210409" y="6554735"/>
                  <a:pt x="5167957" y="6561350"/>
                  <a:pt x="5167957" y="6603869"/>
                </a:cubicBezTo>
                <a:cubicBezTo>
                  <a:pt x="5167957" y="6628035"/>
                  <a:pt x="5184350" y="6639595"/>
                  <a:pt x="5208204" y="6639595"/>
                </a:cubicBezTo>
                <a:cubicBezTo>
                  <a:pt x="5222281" y="6639595"/>
                  <a:pt x="5234932" y="6635452"/>
                  <a:pt x="5244710" y="6626810"/>
                </a:cubicBezTo>
                <a:lnTo>
                  <a:pt x="5244710" y="6636967"/>
                </a:lnTo>
                <a:lnTo>
                  <a:pt x="5282329" y="6636967"/>
                </a:lnTo>
                <a:lnTo>
                  <a:pt x="5282351" y="6636989"/>
                </a:lnTo>
                <a:lnTo>
                  <a:pt x="5282351" y="6545937"/>
                </a:lnTo>
                <a:cubicBezTo>
                  <a:pt x="5282351" y="6520323"/>
                  <a:pt x="5262550" y="6505690"/>
                  <a:pt x="5231925" y="6505690"/>
                </a:cubicBezTo>
                <a:close/>
                <a:moveTo>
                  <a:pt x="5012380" y="6505667"/>
                </a:moveTo>
                <a:cubicBezTo>
                  <a:pt x="4996255" y="6505667"/>
                  <a:pt x="4981376" y="6511235"/>
                  <a:pt x="4968369" y="6519966"/>
                </a:cubicBezTo>
                <a:lnTo>
                  <a:pt x="4968369" y="6508674"/>
                </a:lnTo>
                <a:lnTo>
                  <a:pt x="4929614" y="6508674"/>
                </a:lnTo>
                <a:lnTo>
                  <a:pt x="4929614" y="6636944"/>
                </a:lnTo>
                <a:lnTo>
                  <a:pt x="4969505" y="6636944"/>
                </a:lnTo>
                <a:lnTo>
                  <a:pt x="4969505" y="6546672"/>
                </a:lnTo>
                <a:cubicBezTo>
                  <a:pt x="4976944" y="6540725"/>
                  <a:pt x="4983626" y="6535758"/>
                  <a:pt x="4993938" y="6535758"/>
                </a:cubicBezTo>
                <a:cubicBezTo>
                  <a:pt x="5007636" y="6535758"/>
                  <a:pt x="5012737" y="6542462"/>
                  <a:pt x="5012737" y="6554578"/>
                </a:cubicBezTo>
                <a:lnTo>
                  <a:pt x="5012737" y="6636966"/>
                </a:lnTo>
                <a:lnTo>
                  <a:pt x="5052628" y="6636966"/>
                </a:lnTo>
                <a:lnTo>
                  <a:pt x="5052628" y="6636944"/>
                </a:lnTo>
                <a:lnTo>
                  <a:pt x="5052628" y="6545536"/>
                </a:lnTo>
                <a:cubicBezTo>
                  <a:pt x="5052628" y="6521481"/>
                  <a:pt x="5037816" y="6505667"/>
                  <a:pt x="5012380" y="6505667"/>
                </a:cubicBezTo>
                <a:close/>
                <a:moveTo>
                  <a:pt x="4852350" y="6505667"/>
                </a:moveTo>
                <a:cubicBezTo>
                  <a:pt x="4817203" y="6505667"/>
                  <a:pt x="4784662" y="6532060"/>
                  <a:pt x="4784662" y="6572998"/>
                </a:cubicBezTo>
                <a:cubicBezTo>
                  <a:pt x="4784662" y="6613936"/>
                  <a:pt x="4809496" y="6639594"/>
                  <a:pt x="4849343" y="6639594"/>
                </a:cubicBezTo>
                <a:cubicBezTo>
                  <a:pt x="4870413" y="6639594"/>
                  <a:pt x="4889323" y="6634449"/>
                  <a:pt x="4906896" y="6624916"/>
                </a:cubicBezTo>
                <a:lnTo>
                  <a:pt x="4896361" y="6601218"/>
                </a:lnTo>
                <a:cubicBezTo>
                  <a:pt x="4890147" y="6605517"/>
                  <a:pt x="4875669" y="6610996"/>
                  <a:pt x="4863620" y="6610996"/>
                </a:cubicBezTo>
                <a:cubicBezTo>
                  <a:pt x="4836424" y="6610996"/>
                  <a:pt x="4827114" y="6599948"/>
                  <a:pt x="4826758" y="6581284"/>
                </a:cubicBezTo>
                <a:lnTo>
                  <a:pt x="4911774" y="6581284"/>
                </a:lnTo>
                <a:cubicBezTo>
                  <a:pt x="4912019" y="6576740"/>
                  <a:pt x="4912152" y="6572375"/>
                  <a:pt x="4912152" y="6568120"/>
                </a:cubicBezTo>
                <a:lnTo>
                  <a:pt x="4912175" y="6568120"/>
                </a:lnTo>
                <a:cubicBezTo>
                  <a:pt x="4912175" y="6531259"/>
                  <a:pt x="4896138" y="6505667"/>
                  <a:pt x="4852350" y="6505667"/>
                </a:cubicBezTo>
                <a:close/>
                <a:moveTo>
                  <a:pt x="4593315" y="6505667"/>
                </a:moveTo>
                <a:cubicBezTo>
                  <a:pt x="4577190" y="6505667"/>
                  <a:pt x="4562289" y="6511235"/>
                  <a:pt x="4549304" y="6519966"/>
                </a:cubicBezTo>
                <a:lnTo>
                  <a:pt x="4549304" y="6508674"/>
                </a:lnTo>
                <a:lnTo>
                  <a:pt x="4510549" y="6508674"/>
                </a:lnTo>
                <a:lnTo>
                  <a:pt x="4510549" y="6636944"/>
                </a:lnTo>
                <a:lnTo>
                  <a:pt x="4550418" y="6636944"/>
                </a:lnTo>
                <a:lnTo>
                  <a:pt x="4550418" y="6546672"/>
                </a:lnTo>
                <a:cubicBezTo>
                  <a:pt x="4557879" y="6540725"/>
                  <a:pt x="4564561" y="6535758"/>
                  <a:pt x="4574873" y="6535758"/>
                </a:cubicBezTo>
                <a:cubicBezTo>
                  <a:pt x="4588571" y="6535758"/>
                  <a:pt x="4593672" y="6542462"/>
                  <a:pt x="4593672" y="6554578"/>
                </a:cubicBezTo>
                <a:lnTo>
                  <a:pt x="4593672" y="6636966"/>
                </a:lnTo>
                <a:lnTo>
                  <a:pt x="4633563" y="6636966"/>
                </a:lnTo>
                <a:lnTo>
                  <a:pt x="4633585" y="6636944"/>
                </a:lnTo>
                <a:lnTo>
                  <a:pt x="4633585" y="6545536"/>
                </a:lnTo>
                <a:cubicBezTo>
                  <a:pt x="4633585" y="6521481"/>
                  <a:pt x="4618751" y="6505667"/>
                  <a:pt x="4593315" y="6505667"/>
                </a:cubicBezTo>
                <a:close/>
                <a:moveTo>
                  <a:pt x="4716618" y="6505267"/>
                </a:moveTo>
                <a:cubicBezTo>
                  <a:pt x="4682741" y="6505267"/>
                  <a:pt x="4656815" y="6519678"/>
                  <a:pt x="4656815" y="6547029"/>
                </a:cubicBezTo>
                <a:cubicBezTo>
                  <a:pt x="4656815" y="6568055"/>
                  <a:pt x="4666682" y="6574335"/>
                  <a:pt x="4674121" y="6578256"/>
                </a:cubicBezTo>
                <a:cubicBezTo>
                  <a:pt x="4660735" y="6585717"/>
                  <a:pt x="4649665" y="6597321"/>
                  <a:pt x="4649665" y="6609861"/>
                </a:cubicBezTo>
                <a:cubicBezTo>
                  <a:pt x="4649665" y="6619817"/>
                  <a:pt x="4652494" y="6625742"/>
                  <a:pt x="4656058" y="6629795"/>
                </a:cubicBezTo>
                <a:cubicBezTo>
                  <a:pt x="4659443" y="6633648"/>
                  <a:pt x="4663408" y="6635608"/>
                  <a:pt x="4667729" y="6638081"/>
                </a:cubicBezTo>
                <a:cubicBezTo>
                  <a:pt x="4659911" y="6643159"/>
                  <a:pt x="4647037" y="6652892"/>
                  <a:pt x="4647037" y="6667437"/>
                </a:cubicBezTo>
                <a:cubicBezTo>
                  <a:pt x="4647037" y="6698530"/>
                  <a:pt x="4678219" y="6707840"/>
                  <a:pt x="4710604" y="6707684"/>
                </a:cubicBezTo>
                <a:cubicBezTo>
                  <a:pt x="4747399" y="6707506"/>
                  <a:pt x="4784706" y="6690177"/>
                  <a:pt x="4784706" y="6652759"/>
                </a:cubicBezTo>
                <a:lnTo>
                  <a:pt x="4784706" y="6652736"/>
                </a:lnTo>
                <a:cubicBezTo>
                  <a:pt x="4784706" y="6624450"/>
                  <a:pt x="4766977" y="6610240"/>
                  <a:pt x="4737666" y="6610240"/>
                </a:cubicBezTo>
                <a:lnTo>
                  <a:pt x="4706060" y="6610240"/>
                </a:lnTo>
                <a:cubicBezTo>
                  <a:pt x="4699958" y="6610240"/>
                  <a:pt x="4686505" y="6608792"/>
                  <a:pt x="4686505" y="6598947"/>
                </a:cubicBezTo>
                <a:cubicBezTo>
                  <a:pt x="4686505" y="6594092"/>
                  <a:pt x="4693031" y="6589771"/>
                  <a:pt x="4696283" y="6588033"/>
                </a:cubicBezTo>
                <a:cubicBezTo>
                  <a:pt x="4701272" y="6589013"/>
                  <a:pt x="4706394" y="6589904"/>
                  <a:pt x="4712096" y="6589904"/>
                </a:cubicBezTo>
                <a:cubicBezTo>
                  <a:pt x="4742766" y="6589904"/>
                  <a:pt x="4773057" y="6579636"/>
                  <a:pt x="4773057" y="6545893"/>
                </a:cubicBezTo>
                <a:cubicBezTo>
                  <a:pt x="4773057" y="6512149"/>
                  <a:pt x="4745417" y="6505267"/>
                  <a:pt x="4716618" y="6505267"/>
                </a:cubicBezTo>
                <a:close/>
                <a:moveTo>
                  <a:pt x="4308733" y="6503396"/>
                </a:moveTo>
                <a:cubicBezTo>
                  <a:pt x="4277885" y="6503396"/>
                  <a:pt x="4255322" y="6519833"/>
                  <a:pt x="4255322" y="6546271"/>
                </a:cubicBezTo>
                <a:cubicBezTo>
                  <a:pt x="4255322" y="6570148"/>
                  <a:pt x="4268775" y="6578679"/>
                  <a:pt x="4285035" y="6583156"/>
                </a:cubicBezTo>
                <a:cubicBezTo>
                  <a:pt x="4292763" y="6585271"/>
                  <a:pt x="4304479" y="6587298"/>
                  <a:pt x="4312119" y="6589548"/>
                </a:cubicBezTo>
                <a:cubicBezTo>
                  <a:pt x="4318221" y="6591352"/>
                  <a:pt x="4321540" y="6594069"/>
                  <a:pt x="4321540" y="6599326"/>
                </a:cubicBezTo>
                <a:cubicBezTo>
                  <a:pt x="4321540" y="6610618"/>
                  <a:pt x="4308577" y="6611754"/>
                  <a:pt x="4299334" y="6611754"/>
                </a:cubicBezTo>
                <a:cubicBezTo>
                  <a:pt x="4287485" y="6611754"/>
                  <a:pt x="4272940" y="6607210"/>
                  <a:pt x="4262851" y="6603112"/>
                </a:cubicBezTo>
                <a:lnTo>
                  <a:pt x="4251937" y="6629060"/>
                </a:lnTo>
                <a:cubicBezTo>
                  <a:pt x="4268954" y="6635876"/>
                  <a:pt x="4285057" y="6639217"/>
                  <a:pt x="4304991" y="6639217"/>
                </a:cubicBezTo>
                <a:cubicBezTo>
                  <a:pt x="4335639" y="6639217"/>
                  <a:pt x="4361431" y="6623893"/>
                  <a:pt x="4361431" y="6595962"/>
                </a:cubicBezTo>
                <a:lnTo>
                  <a:pt x="4361386" y="6595962"/>
                </a:lnTo>
                <a:cubicBezTo>
                  <a:pt x="4361386" y="6569190"/>
                  <a:pt x="4344904" y="6559435"/>
                  <a:pt x="4327910" y="6555693"/>
                </a:cubicBezTo>
                <a:cubicBezTo>
                  <a:pt x="4319602" y="6553867"/>
                  <a:pt x="4309713" y="6552085"/>
                  <a:pt x="4303454" y="6550058"/>
                </a:cubicBezTo>
                <a:cubicBezTo>
                  <a:pt x="4297619" y="6548187"/>
                  <a:pt x="4295547" y="6543977"/>
                  <a:pt x="4295547" y="6540659"/>
                </a:cubicBezTo>
                <a:cubicBezTo>
                  <a:pt x="4295547" y="6533932"/>
                  <a:pt x="4303031" y="6529745"/>
                  <a:pt x="4313989" y="6529745"/>
                </a:cubicBezTo>
                <a:cubicBezTo>
                  <a:pt x="4324101" y="6529745"/>
                  <a:pt x="4338289" y="6533086"/>
                  <a:pt x="4343345" y="6535380"/>
                </a:cubicBezTo>
                <a:lnTo>
                  <a:pt x="4353502" y="6509410"/>
                </a:lnTo>
                <a:cubicBezTo>
                  <a:pt x="4342053" y="6506091"/>
                  <a:pt x="4329113" y="6503396"/>
                  <a:pt x="4308733" y="6503396"/>
                </a:cubicBezTo>
                <a:close/>
                <a:moveTo>
                  <a:pt x="5124949" y="6469184"/>
                </a:moveTo>
                <a:lnTo>
                  <a:pt x="5085080" y="6480476"/>
                </a:lnTo>
                <a:lnTo>
                  <a:pt x="5085080" y="6508674"/>
                </a:lnTo>
                <a:lnTo>
                  <a:pt x="5064767" y="6508674"/>
                </a:lnTo>
                <a:lnTo>
                  <a:pt x="5064767" y="6534266"/>
                </a:lnTo>
                <a:lnTo>
                  <a:pt x="5085080" y="6534266"/>
                </a:lnTo>
                <a:lnTo>
                  <a:pt x="5085080" y="6601597"/>
                </a:lnTo>
                <a:cubicBezTo>
                  <a:pt x="5085080" y="6631175"/>
                  <a:pt x="5106484" y="6639595"/>
                  <a:pt x="5130584" y="6639595"/>
                </a:cubicBezTo>
                <a:cubicBezTo>
                  <a:pt x="5138535" y="6639595"/>
                  <a:pt x="5150785" y="6638214"/>
                  <a:pt x="5159939" y="6636588"/>
                </a:cubicBezTo>
                <a:lnTo>
                  <a:pt x="5157289" y="6610617"/>
                </a:lnTo>
                <a:cubicBezTo>
                  <a:pt x="5153035" y="6611196"/>
                  <a:pt x="5148803" y="6611753"/>
                  <a:pt x="5144883" y="6611753"/>
                </a:cubicBezTo>
                <a:cubicBezTo>
                  <a:pt x="5133635" y="6611753"/>
                  <a:pt x="5124949" y="6608702"/>
                  <a:pt x="5124949" y="6592198"/>
                </a:cubicBezTo>
                <a:lnTo>
                  <a:pt x="5124949" y="6534266"/>
                </a:lnTo>
                <a:lnTo>
                  <a:pt x="5159939" y="6534266"/>
                </a:lnTo>
                <a:lnTo>
                  <a:pt x="5159939" y="6508674"/>
                </a:lnTo>
                <a:lnTo>
                  <a:pt x="5124949" y="6508674"/>
                </a:lnTo>
                <a:close/>
                <a:moveTo>
                  <a:pt x="4849186" y="6399470"/>
                </a:moveTo>
                <a:cubicBezTo>
                  <a:pt x="4821924" y="6403368"/>
                  <a:pt x="4781343" y="6410473"/>
                  <a:pt x="4758936" y="6432879"/>
                </a:cubicBezTo>
                <a:cubicBezTo>
                  <a:pt x="4747221" y="6444573"/>
                  <a:pt x="4743568" y="6459050"/>
                  <a:pt x="4743568" y="6475332"/>
                </a:cubicBezTo>
                <a:cubicBezTo>
                  <a:pt x="4743568" y="6484798"/>
                  <a:pt x="4744793" y="6494732"/>
                  <a:pt x="4747622" y="6503774"/>
                </a:cubicBezTo>
                <a:cubicBezTo>
                  <a:pt x="4752522" y="6500233"/>
                  <a:pt x="4764193" y="6499721"/>
                  <a:pt x="4770206" y="6499721"/>
                </a:cubicBezTo>
                <a:cubicBezTo>
                  <a:pt x="4787490" y="6499721"/>
                  <a:pt x="4802168" y="6500233"/>
                  <a:pt x="4818026" y="6484375"/>
                </a:cubicBezTo>
                <a:cubicBezTo>
                  <a:pt x="4837760" y="6464663"/>
                  <a:pt x="4828985" y="6433704"/>
                  <a:pt x="4849164" y="6399515"/>
                </a:cubicBezTo>
                <a:close/>
                <a:moveTo>
                  <a:pt x="4350834" y="1926977"/>
                </a:moveTo>
                <a:lnTo>
                  <a:pt x="4350834" y="1926979"/>
                </a:lnTo>
                <a:cubicBezTo>
                  <a:pt x="4127733" y="2399504"/>
                  <a:pt x="4041190" y="2849310"/>
                  <a:pt x="3964528" y="3247847"/>
                </a:cubicBezTo>
                <a:cubicBezTo>
                  <a:pt x="3870088" y="3738595"/>
                  <a:pt x="3788526" y="4162443"/>
                  <a:pt x="3476614" y="4474071"/>
                </a:cubicBezTo>
                <a:cubicBezTo>
                  <a:pt x="3004696" y="4946515"/>
                  <a:pt x="2573032" y="4946112"/>
                  <a:pt x="2027490" y="4945503"/>
                </a:cubicBezTo>
                <a:lnTo>
                  <a:pt x="1974397" y="4945503"/>
                </a:lnTo>
                <a:cubicBezTo>
                  <a:pt x="1784868" y="4945503"/>
                  <a:pt x="1521068" y="4958664"/>
                  <a:pt x="1317566" y="5019898"/>
                </a:cubicBezTo>
                <a:cubicBezTo>
                  <a:pt x="1264313" y="4793679"/>
                  <a:pt x="1236208" y="4540002"/>
                  <a:pt x="1236208" y="4284098"/>
                </a:cubicBezTo>
                <a:lnTo>
                  <a:pt x="1236208" y="4284097"/>
                </a:lnTo>
                <a:lnTo>
                  <a:pt x="1236208" y="4284096"/>
                </a:lnTo>
                <a:cubicBezTo>
                  <a:pt x="1236208" y="3704535"/>
                  <a:pt x="1385968" y="3285061"/>
                  <a:pt x="1707559" y="2964038"/>
                </a:cubicBezTo>
                <a:cubicBezTo>
                  <a:pt x="2203128" y="2468388"/>
                  <a:pt x="3068074" y="2128979"/>
                  <a:pt x="4350834" y="1926977"/>
                </a:cubicBezTo>
                <a:close/>
                <a:moveTo>
                  <a:pt x="4959350" y="1508758"/>
                </a:moveTo>
                <a:lnTo>
                  <a:pt x="4623060" y="1556586"/>
                </a:lnTo>
                <a:cubicBezTo>
                  <a:pt x="3487346" y="1718130"/>
                  <a:pt x="2225361" y="1984241"/>
                  <a:pt x="1476722" y="2732959"/>
                </a:cubicBezTo>
                <a:cubicBezTo>
                  <a:pt x="1089809" y="3119225"/>
                  <a:pt x="909594" y="3612120"/>
                  <a:pt x="909594" y="4284096"/>
                </a:cubicBezTo>
                <a:cubicBezTo>
                  <a:pt x="909594" y="4644645"/>
                  <a:pt x="959731" y="4994342"/>
                  <a:pt x="1054617" y="5295400"/>
                </a:cubicBezTo>
                <a:lnTo>
                  <a:pt x="1124434" y="5516880"/>
                </a:lnTo>
                <a:lnTo>
                  <a:pt x="1156671" y="5486874"/>
                </a:lnTo>
                <a:cubicBezTo>
                  <a:pt x="1157399" y="5486224"/>
                  <a:pt x="1228716" y="5420214"/>
                  <a:pt x="1319268" y="5369592"/>
                </a:cubicBezTo>
                <a:cubicBezTo>
                  <a:pt x="1431650" y="5306699"/>
                  <a:pt x="1664348" y="5272074"/>
                  <a:pt x="1974397" y="5272074"/>
                </a:cubicBezTo>
                <a:lnTo>
                  <a:pt x="2027166" y="5272074"/>
                </a:lnTo>
                <a:cubicBezTo>
                  <a:pt x="2599113" y="5272843"/>
                  <a:pt x="3139634" y="5273532"/>
                  <a:pt x="3707613" y="4704987"/>
                </a:cubicBezTo>
                <a:cubicBezTo>
                  <a:pt x="4090354" y="4322568"/>
                  <a:pt x="4185038" y="3830442"/>
                  <a:pt x="4285310" y="3309400"/>
                </a:cubicBezTo>
                <a:cubicBezTo>
                  <a:pt x="4373434" y="2851334"/>
                  <a:pt x="4473340" y="2332195"/>
                  <a:pt x="4786750" y="1801232"/>
                </a:cubicBezTo>
                <a:close/>
                <a:moveTo>
                  <a:pt x="0" y="0"/>
                </a:moveTo>
                <a:lnTo>
                  <a:pt x="5588000" y="0"/>
                </a:lnTo>
                <a:lnTo>
                  <a:pt x="5588000" y="6858000"/>
                </a:lnTo>
                <a:lnTo>
                  <a:pt x="0" y="6858000"/>
                </a:lnTo>
                <a:close/>
              </a:path>
            </a:pathLst>
          </a:custGeom>
          <a:pattFill prst="ltVert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ru-RU"/>
              <a:t>Вставка рисунка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4143504-EE65-4DC3-B3CA-E3F6B61D62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228601"/>
            <a:ext cx="5376672" cy="777240"/>
          </a:xfrm>
        </p:spPr>
        <p:txBody>
          <a:bodyPr lIns="0" tIns="0" rIns="0" bIns="0"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0EC9150-4BFD-49BF-B8E4-AF03E73591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128016" rIns="0" bIns="0"/>
          <a:lstStyle/>
          <a:p>
            <a:pPr algn="r"/>
            <a:r>
              <a:rPr lang="en-GB"/>
              <a:t>Classification: INTERNAL USE ONLY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38E1321-EBFA-4C3D-BEA2-63D1F4F498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7695D00A-BA34-4D39-8C84-2534822D643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75AD173E-95AD-4CF5-BB5A-7CA9E22B68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2686316"/>
            <a:ext cx="5376672" cy="3562084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CAB4241F-4057-495B-B3D6-3483CCDEDB7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800" y="1592263"/>
            <a:ext cx="5376672" cy="695934"/>
          </a:xfrm>
        </p:spPr>
        <p:txBody>
          <a:bodyPr anchor="t"/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  <a:lvl2pPr marL="0" indent="0">
              <a:buNone/>
              <a:defRPr sz="2200" b="1">
                <a:solidFill>
                  <a:schemeClr val="accent1"/>
                </a:solidFill>
              </a:defRPr>
            </a:lvl2pPr>
            <a:lvl3pPr>
              <a:defRPr sz="2200" b="1">
                <a:solidFill>
                  <a:schemeClr val="accent1"/>
                </a:solidFill>
              </a:defRPr>
            </a:lvl3pPr>
            <a:lvl4pPr>
              <a:defRPr sz="2200" b="1">
                <a:solidFill>
                  <a:schemeClr val="accent1"/>
                </a:solidFill>
              </a:defRPr>
            </a:lvl4pPr>
            <a:lvl5pPr>
              <a:defRPr sz="22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36569250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gray">
          <a:xfrm>
            <a:off x="10847313" y="0"/>
            <a:ext cx="1343255" cy="686147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gray">
          <a:xfrm>
            <a:off x="0" y="6055930"/>
            <a:ext cx="10847312" cy="741199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40" name="Rectangle 10"/>
          <p:cNvSpPr>
            <a:spLocks noChangeArrowheads="1"/>
          </p:cNvSpPr>
          <p:nvPr userDrawn="1"/>
        </p:nvSpPr>
        <p:spPr bwMode="gray">
          <a:xfrm>
            <a:off x="-1" y="5079435"/>
            <a:ext cx="12192001" cy="887599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2400">
              <a:solidFill>
                <a:srgbClr val="6D6E71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5" name="Freeform 4"/>
          <p:cNvSpPr>
            <a:spLocks noEditPoints="1"/>
          </p:cNvSpPr>
          <p:nvPr userDrawn="1"/>
        </p:nvSpPr>
        <p:spPr bwMode="gray">
          <a:xfrm>
            <a:off x="10885512" y="622998"/>
            <a:ext cx="1267632" cy="5973852"/>
          </a:xfrm>
          <a:custGeom>
            <a:avLst/>
            <a:gdLst>
              <a:gd name="T0" fmla="*/ 246 w 404"/>
              <a:gd name="T1" fmla="*/ 1196 h 1884"/>
              <a:gd name="T2" fmla="*/ 220 w 404"/>
              <a:gd name="T3" fmla="*/ 1280 h 1884"/>
              <a:gd name="T4" fmla="*/ 146 w 404"/>
              <a:gd name="T5" fmla="*/ 1336 h 1884"/>
              <a:gd name="T6" fmla="*/ 0 w 404"/>
              <a:gd name="T7" fmla="*/ 1385 h 1884"/>
              <a:gd name="T8" fmla="*/ 0 w 404"/>
              <a:gd name="T9" fmla="*/ 1451 h 1884"/>
              <a:gd name="T10" fmla="*/ 201 w 404"/>
              <a:gd name="T11" fmla="*/ 1350 h 1884"/>
              <a:gd name="T12" fmla="*/ 252 w 404"/>
              <a:gd name="T13" fmla="*/ 1236 h 1884"/>
              <a:gd name="T14" fmla="*/ 246 w 404"/>
              <a:gd name="T15" fmla="*/ 1196 h 1884"/>
              <a:gd name="T16" fmla="*/ 0 w 404"/>
              <a:gd name="T17" fmla="*/ 0 h 1884"/>
              <a:gd name="T18" fmla="*/ 0 w 404"/>
              <a:gd name="T19" fmla="*/ 257 h 1884"/>
              <a:gd name="T20" fmla="*/ 312 w 404"/>
              <a:gd name="T21" fmla="*/ 1053 h 1884"/>
              <a:gd name="T22" fmla="*/ 321 w 404"/>
              <a:gd name="T23" fmla="*/ 1200 h 1884"/>
              <a:gd name="T24" fmla="*/ 167 w 404"/>
              <a:gd name="T25" fmla="*/ 1662 h 1884"/>
              <a:gd name="T26" fmla="*/ 0 w 404"/>
              <a:gd name="T27" fmla="*/ 1794 h 1884"/>
              <a:gd name="T28" fmla="*/ 0 w 404"/>
              <a:gd name="T29" fmla="*/ 1884 h 1884"/>
              <a:gd name="T30" fmla="*/ 77 w 404"/>
              <a:gd name="T31" fmla="*/ 1845 h 1884"/>
              <a:gd name="T32" fmla="*/ 375 w 404"/>
              <a:gd name="T33" fmla="*/ 1427 h 1884"/>
              <a:gd name="T34" fmla="*/ 404 w 404"/>
              <a:gd name="T35" fmla="*/ 1179 h 1884"/>
              <a:gd name="T36" fmla="*/ 398 w 404"/>
              <a:gd name="T37" fmla="*/ 1059 h 1884"/>
              <a:gd name="T38" fmla="*/ 399 w 404"/>
              <a:gd name="T39" fmla="*/ 1059 h 1884"/>
              <a:gd name="T40" fmla="*/ 398 w 404"/>
              <a:gd name="T41" fmla="*/ 1059 h 1884"/>
              <a:gd name="T42" fmla="*/ 0 w 404"/>
              <a:gd name="T43" fmla="*/ 0 h 1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404" h="1884">
                <a:moveTo>
                  <a:pt x="246" y="1196"/>
                </a:moveTo>
                <a:cubicBezTo>
                  <a:pt x="246" y="1230"/>
                  <a:pt x="237" y="1258"/>
                  <a:pt x="220" y="1280"/>
                </a:cubicBezTo>
                <a:cubicBezTo>
                  <a:pt x="203" y="1303"/>
                  <a:pt x="178" y="1321"/>
                  <a:pt x="146" y="1336"/>
                </a:cubicBezTo>
                <a:cubicBezTo>
                  <a:pt x="107" y="1355"/>
                  <a:pt x="57" y="1370"/>
                  <a:pt x="0" y="1385"/>
                </a:cubicBezTo>
                <a:cubicBezTo>
                  <a:pt x="0" y="1451"/>
                  <a:pt x="0" y="1451"/>
                  <a:pt x="0" y="1451"/>
                </a:cubicBezTo>
                <a:cubicBezTo>
                  <a:pt x="101" y="1423"/>
                  <a:pt x="163" y="1387"/>
                  <a:pt x="201" y="1350"/>
                </a:cubicBezTo>
                <a:cubicBezTo>
                  <a:pt x="240" y="1310"/>
                  <a:pt x="252" y="1270"/>
                  <a:pt x="252" y="1236"/>
                </a:cubicBezTo>
                <a:cubicBezTo>
                  <a:pt x="252" y="1221"/>
                  <a:pt x="250" y="1208"/>
                  <a:pt x="246" y="1196"/>
                </a:cubicBezTo>
                <a:moveTo>
                  <a:pt x="0" y="0"/>
                </a:moveTo>
                <a:cubicBezTo>
                  <a:pt x="0" y="257"/>
                  <a:pt x="0" y="257"/>
                  <a:pt x="0" y="257"/>
                </a:cubicBezTo>
                <a:cubicBezTo>
                  <a:pt x="155" y="529"/>
                  <a:pt x="283" y="818"/>
                  <a:pt x="312" y="1053"/>
                </a:cubicBezTo>
                <a:cubicBezTo>
                  <a:pt x="318" y="1105"/>
                  <a:pt x="321" y="1154"/>
                  <a:pt x="321" y="1200"/>
                </a:cubicBezTo>
                <a:cubicBezTo>
                  <a:pt x="321" y="1417"/>
                  <a:pt x="253" y="1563"/>
                  <a:pt x="167" y="1662"/>
                </a:cubicBezTo>
                <a:cubicBezTo>
                  <a:pt x="114" y="1722"/>
                  <a:pt x="55" y="1764"/>
                  <a:pt x="0" y="1794"/>
                </a:cubicBezTo>
                <a:cubicBezTo>
                  <a:pt x="0" y="1884"/>
                  <a:pt x="0" y="1884"/>
                  <a:pt x="0" y="1884"/>
                </a:cubicBezTo>
                <a:cubicBezTo>
                  <a:pt x="27" y="1873"/>
                  <a:pt x="52" y="1861"/>
                  <a:pt x="77" y="1845"/>
                </a:cubicBezTo>
                <a:cubicBezTo>
                  <a:pt x="172" y="1785"/>
                  <a:pt x="326" y="1632"/>
                  <a:pt x="375" y="1427"/>
                </a:cubicBezTo>
                <a:cubicBezTo>
                  <a:pt x="393" y="1355"/>
                  <a:pt x="404" y="1273"/>
                  <a:pt x="404" y="1179"/>
                </a:cubicBezTo>
                <a:cubicBezTo>
                  <a:pt x="404" y="1141"/>
                  <a:pt x="402" y="1101"/>
                  <a:pt x="398" y="1059"/>
                </a:cubicBezTo>
                <a:cubicBezTo>
                  <a:pt x="399" y="1059"/>
                  <a:pt x="399" y="1059"/>
                  <a:pt x="399" y="1059"/>
                </a:cubicBezTo>
                <a:cubicBezTo>
                  <a:pt x="398" y="1059"/>
                  <a:pt x="398" y="1059"/>
                  <a:pt x="398" y="1059"/>
                </a:cubicBezTo>
                <a:cubicBezTo>
                  <a:pt x="369" y="740"/>
                  <a:pt x="187" y="339"/>
                  <a:pt x="0" y="0"/>
                </a:cubicBezTo>
              </a:path>
            </a:pathLst>
          </a:custGeom>
          <a:gradFill>
            <a:gsLst>
              <a:gs pos="10000">
                <a:srgbClr val="67AD1E"/>
              </a:gs>
              <a:gs pos="35000">
                <a:srgbClr val="67AD1E">
                  <a:alpha val="30000"/>
                </a:srgbClr>
              </a:gs>
              <a:gs pos="45000">
                <a:srgbClr val="67AD1E">
                  <a:alpha val="30000"/>
                </a:srgbClr>
              </a:gs>
              <a:gs pos="90000">
                <a:srgbClr val="67AD1E"/>
              </a:gs>
            </a:gsLst>
            <a:lin ang="3300000" scaled="0"/>
          </a:gra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41" name="Freeform 49"/>
          <p:cNvSpPr>
            <a:spLocks/>
          </p:cNvSpPr>
          <p:nvPr userDrawn="1"/>
        </p:nvSpPr>
        <p:spPr bwMode="gray">
          <a:xfrm>
            <a:off x="10857432" y="5110291"/>
            <a:ext cx="1334568" cy="887599"/>
          </a:xfrm>
          <a:custGeom>
            <a:avLst/>
            <a:gdLst>
              <a:gd name="T0" fmla="*/ 0 w 4568"/>
              <a:gd name="T1" fmla="*/ 0 h 2670"/>
              <a:gd name="T2" fmla="*/ 0 w 4568"/>
              <a:gd name="T3" fmla="*/ 2670 h 2670"/>
              <a:gd name="T4" fmla="*/ 4568 w 4568"/>
              <a:gd name="T5" fmla="*/ 2670 h 2670"/>
              <a:gd name="T6" fmla="*/ 4568 w 4568"/>
              <a:gd name="T7" fmla="*/ 0 h 2670"/>
              <a:gd name="T8" fmla="*/ 0 w 4568"/>
              <a:gd name="T9" fmla="*/ 0 h 2670"/>
              <a:gd name="T10" fmla="*/ 0 w 4568"/>
              <a:gd name="T11" fmla="*/ 0 h 26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568" h="2670">
                <a:moveTo>
                  <a:pt x="0" y="0"/>
                </a:moveTo>
                <a:lnTo>
                  <a:pt x="0" y="2670"/>
                </a:lnTo>
                <a:lnTo>
                  <a:pt x="4568" y="2670"/>
                </a:lnTo>
                <a:lnTo>
                  <a:pt x="4568" y="0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8F5A28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6D6E7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2" name="Immagine 3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5308" y="5319611"/>
            <a:ext cx="2340553" cy="497703"/>
          </a:xfrm>
          <a:prstGeom prst="rect">
            <a:avLst/>
          </a:prstGeom>
        </p:spPr>
      </p:pic>
      <p:sp>
        <p:nvSpPr>
          <p:cNvPr id="56" name="Rectangle 12"/>
          <p:cNvSpPr>
            <a:spLocks noChangeArrowheads="1"/>
          </p:cNvSpPr>
          <p:nvPr userDrawn="1"/>
        </p:nvSpPr>
        <p:spPr bwMode="gray">
          <a:xfrm>
            <a:off x="1" y="5079634"/>
            <a:ext cx="12192001" cy="110949"/>
          </a:xfrm>
          <a:prstGeom prst="rect">
            <a:avLst/>
          </a:prstGeom>
          <a:solidFill>
            <a:srgbClr val="7AB800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6D6E7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1" name="Rectangle 12"/>
          <p:cNvSpPr>
            <a:spLocks noChangeArrowheads="1"/>
          </p:cNvSpPr>
          <p:nvPr userDrawn="1"/>
        </p:nvSpPr>
        <p:spPr bwMode="gray">
          <a:xfrm>
            <a:off x="3757" y="5967588"/>
            <a:ext cx="10848000" cy="24000"/>
          </a:xfrm>
          <a:prstGeom prst="rect">
            <a:avLst/>
          </a:prstGeom>
          <a:solidFill>
            <a:srgbClr val="7AB800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grpSp>
        <p:nvGrpSpPr>
          <p:cNvPr id="42" name="Group 15"/>
          <p:cNvGrpSpPr/>
          <p:nvPr userDrawn="1"/>
        </p:nvGrpSpPr>
        <p:grpSpPr bwMode="gray">
          <a:xfrm>
            <a:off x="11054940" y="5441322"/>
            <a:ext cx="936632" cy="263828"/>
            <a:chOff x="2024063" y="2676525"/>
            <a:chExt cx="5111750" cy="1439863"/>
          </a:xfrm>
        </p:grpSpPr>
        <p:sp>
          <p:nvSpPr>
            <p:cNvPr id="43" name="Line 50"/>
            <p:cNvSpPr>
              <a:spLocks noChangeShapeType="1"/>
            </p:cNvSpPr>
            <p:nvPr/>
          </p:nvSpPr>
          <p:spPr bwMode="gray">
            <a:xfrm>
              <a:off x="2203450" y="3767138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kumimoji="0" lang="en-US" sz="2400">
                <a:solidFill>
                  <a:srgbClr val="6D6E71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Line 51"/>
            <p:cNvSpPr>
              <a:spLocks noChangeShapeType="1"/>
            </p:cNvSpPr>
            <p:nvPr/>
          </p:nvSpPr>
          <p:spPr bwMode="gray">
            <a:xfrm>
              <a:off x="2203450" y="3767138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kumimoji="0" lang="en-US" sz="2400">
                <a:solidFill>
                  <a:srgbClr val="6D6E71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gray">
            <a:xfrm>
              <a:off x="5810250" y="3003550"/>
              <a:ext cx="442913" cy="793750"/>
            </a:xfrm>
            <a:custGeom>
              <a:avLst/>
              <a:gdLst>
                <a:gd name="T0" fmla="*/ 118 w 118"/>
                <a:gd name="T1" fmla="*/ 80 h 211"/>
                <a:gd name="T2" fmla="*/ 74 w 118"/>
                <a:gd name="T3" fmla="*/ 80 h 211"/>
                <a:gd name="T4" fmla="*/ 74 w 118"/>
                <a:gd name="T5" fmla="*/ 152 h 211"/>
                <a:gd name="T6" fmla="*/ 99 w 118"/>
                <a:gd name="T7" fmla="*/ 176 h 211"/>
                <a:gd name="T8" fmla="*/ 114 w 118"/>
                <a:gd name="T9" fmla="*/ 175 h 211"/>
                <a:gd name="T10" fmla="*/ 118 w 118"/>
                <a:gd name="T11" fmla="*/ 207 h 211"/>
                <a:gd name="T12" fmla="*/ 81 w 118"/>
                <a:gd name="T13" fmla="*/ 211 h 211"/>
                <a:gd name="T14" fmla="*/ 25 w 118"/>
                <a:gd name="T15" fmla="*/ 164 h 211"/>
                <a:gd name="T16" fmla="*/ 25 w 118"/>
                <a:gd name="T17" fmla="*/ 80 h 211"/>
                <a:gd name="T18" fmla="*/ 0 w 118"/>
                <a:gd name="T19" fmla="*/ 80 h 211"/>
                <a:gd name="T20" fmla="*/ 0 w 118"/>
                <a:gd name="T21" fmla="*/ 49 h 211"/>
                <a:gd name="T22" fmla="*/ 25 w 118"/>
                <a:gd name="T23" fmla="*/ 49 h 211"/>
                <a:gd name="T24" fmla="*/ 25 w 118"/>
                <a:gd name="T25" fmla="*/ 14 h 211"/>
                <a:gd name="T26" fmla="*/ 74 w 118"/>
                <a:gd name="T27" fmla="*/ 0 h 211"/>
                <a:gd name="T28" fmla="*/ 74 w 118"/>
                <a:gd name="T29" fmla="*/ 49 h 211"/>
                <a:gd name="T30" fmla="*/ 118 w 118"/>
                <a:gd name="T31" fmla="*/ 49 h 211"/>
                <a:gd name="T32" fmla="*/ 118 w 118"/>
                <a:gd name="T33" fmla="*/ 8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8" h="211">
                  <a:moveTo>
                    <a:pt x="118" y="80"/>
                  </a:moveTo>
                  <a:cubicBezTo>
                    <a:pt x="74" y="80"/>
                    <a:pt x="74" y="80"/>
                    <a:pt x="74" y="80"/>
                  </a:cubicBezTo>
                  <a:cubicBezTo>
                    <a:pt x="74" y="152"/>
                    <a:pt x="74" y="152"/>
                    <a:pt x="74" y="152"/>
                  </a:cubicBezTo>
                  <a:cubicBezTo>
                    <a:pt x="74" y="173"/>
                    <a:pt x="85" y="176"/>
                    <a:pt x="99" y="176"/>
                  </a:cubicBezTo>
                  <a:cubicBezTo>
                    <a:pt x="104" y="176"/>
                    <a:pt x="109" y="176"/>
                    <a:pt x="114" y="175"/>
                  </a:cubicBezTo>
                  <a:cubicBezTo>
                    <a:pt x="118" y="207"/>
                    <a:pt x="118" y="207"/>
                    <a:pt x="118" y="207"/>
                  </a:cubicBezTo>
                  <a:cubicBezTo>
                    <a:pt x="106" y="209"/>
                    <a:pt x="91" y="211"/>
                    <a:pt x="81" y="211"/>
                  </a:cubicBezTo>
                  <a:cubicBezTo>
                    <a:pt x="51" y="211"/>
                    <a:pt x="25" y="201"/>
                    <a:pt x="25" y="16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4" y="49"/>
                    <a:pt x="74" y="49"/>
                    <a:pt x="74" y="49"/>
                  </a:cubicBezTo>
                  <a:cubicBezTo>
                    <a:pt x="118" y="49"/>
                    <a:pt x="118" y="49"/>
                    <a:pt x="118" y="49"/>
                  </a:cubicBezTo>
                  <a:lnTo>
                    <a:pt x="118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kumimoji="0" lang="en-US" sz="2400">
                <a:solidFill>
                  <a:srgbClr val="6D6E71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Freeform 53"/>
            <p:cNvSpPr>
              <a:spLocks/>
            </p:cNvSpPr>
            <p:nvPr/>
          </p:nvSpPr>
          <p:spPr bwMode="gray">
            <a:xfrm>
              <a:off x="5178425" y="3173413"/>
              <a:ext cx="574675" cy="612775"/>
            </a:xfrm>
            <a:custGeom>
              <a:avLst/>
              <a:gdLst>
                <a:gd name="T0" fmla="*/ 153 w 153"/>
                <a:gd name="T1" fmla="*/ 163 h 163"/>
                <a:gd name="T2" fmla="*/ 103 w 153"/>
                <a:gd name="T3" fmla="*/ 163 h 163"/>
                <a:gd name="T4" fmla="*/ 103 w 153"/>
                <a:gd name="T5" fmla="*/ 61 h 163"/>
                <a:gd name="T6" fmla="*/ 80 w 153"/>
                <a:gd name="T7" fmla="*/ 37 h 163"/>
                <a:gd name="T8" fmla="*/ 50 w 153"/>
                <a:gd name="T9" fmla="*/ 51 h 163"/>
                <a:gd name="T10" fmla="*/ 50 w 153"/>
                <a:gd name="T11" fmla="*/ 163 h 163"/>
                <a:gd name="T12" fmla="*/ 0 w 153"/>
                <a:gd name="T13" fmla="*/ 163 h 163"/>
                <a:gd name="T14" fmla="*/ 0 w 153"/>
                <a:gd name="T15" fmla="*/ 4 h 163"/>
                <a:gd name="T16" fmla="*/ 48 w 153"/>
                <a:gd name="T17" fmla="*/ 4 h 163"/>
                <a:gd name="T18" fmla="*/ 48 w 153"/>
                <a:gd name="T19" fmla="*/ 18 h 163"/>
                <a:gd name="T20" fmla="*/ 103 w 153"/>
                <a:gd name="T21" fmla="*/ 0 h 163"/>
                <a:gd name="T22" fmla="*/ 153 w 153"/>
                <a:gd name="T23" fmla="*/ 49 h 163"/>
                <a:gd name="T24" fmla="*/ 153 w 153"/>
                <a:gd name="T2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3" h="163">
                  <a:moveTo>
                    <a:pt x="153" y="163"/>
                  </a:moveTo>
                  <a:cubicBezTo>
                    <a:pt x="103" y="163"/>
                    <a:pt x="103" y="163"/>
                    <a:pt x="103" y="163"/>
                  </a:cubicBezTo>
                  <a:cubicBezTo>
                    <a:pt x="103" y="61"/>
                    <a:pt x="103" y="61"/>
                    <a:pt x="103" y="61"/>
                  </a:cubicBezTo>
                  <a:cubicBezTo>
                    <a:pt x="103" y="46"/>
                    <a:pt x="97" y="37"/>
                    <a:pt x="80" y="37"/>
                  </a:cubicBezTo>
                  <a:cubicBezTo>
                    <a:pt x="67" y="37"/>
                    <a:pt x="59" y="43"/>
                    <a:pt x="50" y="51"/>
                  </a:cubicBezTo>
                  <a:cubicBezTo>
                    <a:pt x="50" y="163"/>
                    <a:pt x="50" y="163"/>
                    <a:pt x="50" y="163"/>
                  </a:cubicBezTo>
                  <a:cubicBezTo>
                    <a:pt x="0" y="163"/>
                    <a:pt x="0" y="163"/>
                    <a:pt x="0" y="16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64" y="7"/>
                    <a:pt x="83" y="0"/>
                    <a:pt x="103" y="0"/>
                  </a:cubicBezTo>
                  <a:cubicBezTo>
                    <a:pt x="134" y="0"/>
                    <a:pt x="153" y="20"/>
                    <a:pt x="153" y="49"/>
                  </a:cubicBezTo>
                  <a:lnTo>
                    <a:pt x="153" y="1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kumimoji="0" lang="en-US" sz="2400">
                <a:solidFill>
                  <a:srgbClr val="6D6E71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Freeform 54"/>
            <p:cNvSpPr>
              <a:spLocks/>
            </p:cNvSpPr>
            <p:nvPr/>
          </p:nvSpPr>
          <p:spPr bwMode="gray">
            <a:xfrm>
              <a:off x="4314825" y="2676525"/>
              <a:ext cx="487363" cy="488950"/>
            </a:xfrm>
            <a:custGeom>
              <a:avLst/>
              <a:gdLst>
                <a:gd name="T0" fmla="*/ 130 w 130"/>
                <a:gd name="T1" fmla="*/ 0 h 130"/>
                <a:gd name="T2" fmla="*/ 92 w 130"/>
                <a:gd name="T3" fmla="*/ 106 h 130"/>
                <a:gd name="T4" fmla="*/ 33 w 130"/>
                <a:gd name="T5" fmla="*/ 125 h 130"/>
                <a:gd name="T6" fmla="*/ 5 w 130"/>
                <a:gd name="T7" fmla="*/ 130 h 130"/>
                <a:gd name="T8" fmla="*/ 0 w 130"/>
                <a:gd name="T9" fmla="*/ 94 h 130"/>
                <a:gd name="T10" fmla="*/ 19 w 130"/>
                <a:gd name="T11" fmla="*/ 42 h 130"/>
                <a:gd name="T12" fmla="*/ 130 w 130"/>
                <a:gd name="T13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130">
                  <a:moveTo>
                    <a:pt x="130" y="0"/>
                  </a:moveTo>
                  <a:cubicBezTo>
                    <a:pt x="105" y="43"/>
                    <a:pt x="116" y="81"/>
                    <a:pt x="92" y="106"/>
                  </a:cubicBezTo>
                  <a:cubicBezTo>
                    <a:pt x="72" y="125"/>
                    <a:pt x="54" y="125"/>
                    <a:pt x="33" y="125"/>
                  </a:cubicBezTo>
                  <a:cubicBezTo>
                    <a:pt x="25" y="125"/>
                    <a:pt x="11" y="125"/>
                    <a:pt x="5" y="130"/>
                  </a:cubicBezTo>
                  <a:cubicBezTo>
                    <a:pt x="1" y="118"/>
                    <a:pt x="0" y="106"/>
                    <a:pt x="0" y="94"/>
                  </a:cubicBezTo>
                  <a:cubicBezTo>
                    <a:pt x="0" y="74"/>
                    <a:pt x="4" y="56"/>
                    <a:pt x="19" y="42"/>
                  </a:cubicBezTo>
                  <a:cubicBezTo>
                    <a:pt x="46" y="14"/>
                    <a:pt x="97" y="5"/>
                    <a:pt x="13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kumimoji="0" lang="en-US" sz="2400">
                <a:solidFill>
                  <a:srgbClr val="6D6E71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Freeform 55"/>
            <p:cNvSpPr>
              <a:spLocks/>
            </p:cNvSpPr>
            <p:nvPr/>
          </p:nvSpPr>
          <p:spPr bwMode="gray">
            <a:xfrm>
              <a:off x="3228975" y="3173413"/>
              <a:ext cx="571500" cy="612775"/>
            </a:xfrm>
            <a:custGeom>
              <a:avLst/>
              <a:gdLst>
                <a:gd name="T0" fmla="*/ 152 w 152"/>
                <a:gd name="T1" fmla="*/ 163 h 163"/>
                <a:gd name="T2" fmla="*/ 103 w 152"/>
                <a:gd name="T3" fmla="*/ 163 h 163"/>
                <a:gd name="T4" fmla="*/ 103 w 152"/>
                <a:gd name="T5" fmla="*/ 61 h 163"/>
                <a:gd name="T6" fmla="*/ 79 w 152"/>
                <a:gd name="T7" fmla="*/ 37 h 163"/>
                <a:gd name="T8" fmla="*/ 49 w 152"/>
                <a:gd name="T9" fmla="*/ 51 h 163"/>
                <a:gd name="T10" fmla="*/ 49 w 152"/>
                <a:gd name="T11" fmla="*/ 163 h 163"/>
                <a:gd name="T12" fmla="*/ 0 w 152"/>
                <a:gd name="T13" fmla="*/ 163 h 163"/>
                <a:gd name="T14" fmla="*/ 0 w 152"/>
                <a:gd name="T15" fmla="*/ 4 h 163"/>
                <a:gd name="T16" fmla="*/ 48 w 152"/>
                <a:gd name="T17" fmla="*/ 4 h 163"/>
                <a:gd name="T18" fmla="*/ 48 w 152"/>
                <a:gd name="T19" fmla="*/ 18 h 163"/>
                <a:gd name="T20" fmla="*/ 102 w 152"/>
                <a:gd name="T21" fmla="*/ 0 h 163"/>
                <a:gd name="T22" fmla="*/ 152 w 152"/>
                <a:gd name="T23" fmla="*/ 49 h 163"/>
                <a:gd name="T24" fmla="*/ 152 w 152"/>
                <a:gd name="T2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2" h="163">
                  <a:moveTo>
                    <a:pt x="152" y="163"/>
                  </a:moveTo>
                  <a:cubicBezTo>
                    <a:pt x="103" y="163"/>
                    <a:pt x="103" y="163"/>
                    <a:pt x="103" y="163"/>
                  </a:cubicBezTo>
                  <a:cubicBezTo>
                    <a:pt x="103" y="61"/>
                    <a:pt x="103" y="61"/>
                    <a:pt x="103" y="61"/>
                  </a:cubicBezTo>
                  <a:cubicBezTo>
                    <a:pt x="103" y="46"/>
                    <a:pt x="96" y="37"/>
                    <a:pt x="79" y="37"/>
                  </a:cubicBezTo>
                  <a:cubicBezTo>
                    <a:pt x="67" y="37"/>
                    <a:pt x="58" y="43"/>
                    <a:pt x="49" y="51"/>
                  </a:cubicBezTo>
                  <a:cubicBezTo>
                    <a:pt x="49" y="163"/>
                    <a:pt x="49" y="163"/>
                    <a:pt x="49" y="163"/>
                  </a:cubicBezTo>
                  <a:cubicBezTo>
                    <a:pt x="0" y="163"/>
                    <a:pt x="0" y="163"/>
                    <a:pt x="0" y="16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64" y="7"/>
                    <a:pt x="82" y="0"/>
                    <a:pt x="102" y="0"/>
                  </a:cubicBezTo>
                  <a:cubicBezTo>
                    <a:pt x="134" y="0"/>
                    <a:pt x="152" y="20"/>
                    <a:pt x="152" y="49"/>
                  </a:cubicBezTo>
                  <a:lnTo>
                    <a:pt x="152" y="1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kumimoji="0" lang="en-US" sz="2400">
                <a:solidFill>
                  <a:srgbClr val="6D6E71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Freeform 56"/>
            <p:cNvSpPr>
              <a:spLocks/>
            </p:cNvSpPr>
            <p:nvPr/>
          </p:nvSpPr>
          <p:spPr bwMode="gray">
            <a:xfrm>
              <a:off x="2492375" y="3187700"/>
              <a:ext cx="698500" cy="917575"/>
            </a:xfrm>
            <a:custGeom>
              <a:avLst/>
              <a:gdLst>
                <a:gd name="T0" fmla="*/ 186 w 186"/>
                <a:gd name="T1" fmla="*/ 0 h 244"/>
                <a:gd name="T2" fmla="*/ 106 w 186"/>
                <a:gd name="T3" fmla="*/ 192 h 244"/>
                <a:gd name="T4" fmla="*/ 36 w 186"/>
                <a:gd name="T5" fmla="*/ 244 h 244"/>
                <a:gd name="T6" fmla="*/ 0 w 186"/>
                <a:gd name="T7" fmla="*/ 239 h 244"/>
                <a:gd name="T8" fmla="*/ 7 w 186"/>
                <a:gd name="T9" fmla="*/ 207 h 244"/>
                <a:gd name="T10" fmla="*/ 28 w 186"/>
                <a:gd name="T11" fmla="*/ 210 h 244"/>
                <a:gd name="T12" fmla="*/ 68 w 186"/>
                <a:gd name="T13" fmla="*/ 170 h 244"/>
                <a:gd name="T14" fmla="*/ 73 w 186"/>
                <a:gd name="T15" fmla="*/ 159 h 244"/>
                <a:gd name="T16" fmla="*/ 12 w 186"/>
                <a:gd name="T17" fmla="*/ 0 h 244"/>
                <a:gd name="T18" fmla="*/ 65 w 186"/>
                <a:gd name="T19" fmla="*/ 0 h 244"/>
                <a:gd name="T20" fmla="*/ 94 w 186"/>
                <a:gd name="T21" fmla="*/ 78 h 244"/>
                <a:gd name="T22" fmla="*/ 101 w 186"/>
                <a:gd name="T23" fmla="*/ 105 h 244"/>
                <a:gd name="T24" fmla="*/ 110 w 186"/>
                <a:gd name="T25" fmla="*/ 77 h 244"/>
                <a:gd name="T26" fmla="*/ 139 w 186"/>
                <a:gd name="T27" fmla="*/ 0 h 244"/>
                <a:gd name="T28" fmla="*/ 186 w 186"/>
                <a:gd name="T29" fmla="*/ 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6" h="244">
                  <a:moveTo>
                    <a:pt x="186" y="0"/>
                  </a:moveTo>
                  <a:cubicBezTo>
                    <a:pt x="106" y="192"/>
                    <a:pt x="106" y="192"/>
                    <a:pt x="106" y="192"/>
                  </a:cubicBezTo>
                  <a:cubicBezTo>
                    <a:pt x="94" y="222"/>
                    <a:pt x="70" y="244"/>
                    <a:pt x="36" y="244"/>
                  </a:cubicBezTo>
                  <a:cubicBezTo>
                    <a:pt x="20" y="244"/>
                    <a:pt x="11" y="241"/>
                    <a:pt x="0" y="239"/>
                  </a:cubicBezTo>
                  <a:cubicBezTo>
                    <a:pt x="7" y="207"/>
                    <a:pt x="7" y="207"/>
                    <a:pt x="7" y="207"/>
                  </a:cubicBezTo>
                  <a:cubicBezTo>
                    <a:pt x="16" y="209"/>
                    <a:pt x="22" y="210"/>
                    <a:pt x="28" y="210"/>
                  </a:cubicBezTo>
                  <a:cubicBezTo>
                    <a:pt x="48" y="210"/>
                    <a:pt x="59" y="193"/>
                    <a:pt x="68" y="170"/>
                  </a:cubicBezTo>
                  <a:cubicBezTo>
                    <a:pt x="73" y="159"/>
                    <a:pt x="73" y="159"/>
                    <a:pt x="73" y="159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94" y="78"/>
                    <a:pt x="94" y="78"/>
                    <a:pt x="94" y="78"/>
                  </a:cubicBezTo>
                  <a:cubicBezTo>
                    <a:pt x="97" y="88"/>
                    <a:pt x="99" y="98"/>
                    <a:pt x="101" y="105"/>
                  </a:cubicBezTo>
                  <a:cubicBezTo>
                    <a:pt x="102" y="98"/>
                    <a:pt x="106" y="86"/>
                    <a:pt x="110" y="77"/>
                  </a:cubicBezTo>
                  <a:cubicBezTo>
                    <a:pt x="139" y="0"/>
                    <a:pt x="139" y="0"/>
                    <a:pt x="139" y="0"/>
                  </a:cubicBezTo>
                  <a:lnTo>
                    <a:pt x="18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kumimoji="0" lang="en-US" sz="2400">
                <a:solidFill>
                  <a:srgbClr val="6D6E71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Freeform 57"/>
            <p:cNvSpPr>
              <a:spLocks/>
            </p:cNvSpPr>
            <p:nvPr/>
          </p:nvSpPr>
          <p:spPr bwMode="gray">
            <a:xfrm>
              <a:off x="2024063" y="3162300"/>
              <a:ext cx="509588" cy="631825"/>
            </a:xfrm>
            <a:custGeom>
              <a:avLst/>
              <a:gdLst>
                <a:gd name="T0" fmla="*/ 136 w 136"/>
                <a:gd name="T1" fmla="*/ 115 h 168"/>
                <a:gd name="T2" fmla="*/ 66 w 136"/>
                <a:gd name="T3" fmla="*/ 168 h 168"/>
                <a:gd name="T4" fmla="*/ 0 w 136"/>
                <a:gd name="T5" fmla="*/ 156 h 168"/>
                <a:gd name="T6" fmla="*/ 14 w 136"/>
                <a:gd name="T7" fmla="*/ 124 h 168"/>
                <a:gd name="T8" fmla="*/ 59 w 136"/>
                <a:gd name="T9" fmla="*/ 134 h 168"/>
                <a:gd name="T10" fmla="*/ 86 w 136"/>
                <a:gd name="T11" fmla="*/ 119 h 168"/>
                <a:gd name="T12" fmla="*/ 75 w 136"/>
                <a:gd name="T13" fmla="*/ 107 h 168"/>
                <a:gd name="T14" fmla="*/ 41 w 136"/>
                <a:gd name="T15" fmla="*/ 99 h 168"/>
                <a:gd name="T16" fmla="*/ 4 w 136"/>
                <a:gd name="T17" fmla="*/ 53 h 168"/>
                <a:gd name="T18" fmla="*/ 71 w 136"/>
                <a:gd name="T19" fmla="*/ 0 h 168"/>
                <a:gd name="T20" fmla="*/ 126 w 136"/>
                <a:gd name="T21" fmla="*/ 8 h 168"/>
                <a:gd name="T22" fmla="*/ 114 w 136"/>
                <a:gd name="T23" fmla="*/ 40 h 168"/>
                <a:gd name="T24" fmla="*/ 77 w 136"/>
                <a:gd name="T25" fmla="*/ 33 h 168"/>
                <a:gd name="T26" fmla="*/ 54 w 136"/>
                <a:gd name="T27" fmla="*/ 46 h 168"/>
                <a:gd name="T28" fmla="*/ 64 w 136"/>
                <a:gd name="T29" fmla="*/ 58 h 168"/>
                <a:gd name="T30" fmla="*/ 94 w 136"/>
                <a:gd name="T31" fmla="*/ 65 h 168"/>
                <a:gd name="T32" fmla="*/ 136 w 136"/>
                <a:gd name="T33" fmla="*/ 115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68">
                  <a:moveTo>
                    <a:pt x="136" y="115"/>
                  </a:moveTo>
                  <a:cubicBezTo>
                    <a:pt x="136" y="149"/>
                    <a:pt x="104" y="168"/>
                    <a:pt x="66" y="168"/>
                  </a:cubicBezTo>
                  <a:cubicBezTo>
                    <a:pt x="41" y="168"/>
                    <a:pt x="21" y="164"/>
                    <a:pt x="0" y="156"/>
                  </a:cubicBezTo>
                  <a:cubicBezTo>
                    <a:pt x="14" y="124"/>
                    <a:pt x="14" y="124"/>
                    <a:pt x="14" y="124"/>
                  </a:cubicBezTo>
                  <a:cubicBezTo>
                    <a:pt x="26" y="129"/>
                    <a:pt x="44" y="134"/>
                    <a:pt x="59" y="134"/>
                  </a:cubicBezTo>
                  <a:cubicBezTo>
                    <a:pt x="70" y="134"/>
                    <a:pt x="86" y="133"/>
                    <a:pt x="86" y="119"/>
                  </a:cubicBezTo>
                  <a:cubicBezTo>
                    <a:pt x="86" y="113"/>
                    <a:pt x="82" y="109"/>
                    <a:pt x="75" y="107"/>
                  </a:cubicBezTo>
                  <a:cubicBezTo>
                    <a:pt x="65" y="104"/>
                    <a:pt x="51" y="102"/>
                    <a:pt x="41" y="99"/>
                  </a:cubicBezTo>
                  <a:cubicBezTo>
                    <a:pt x="21" y="93"/>
                    <a:pt x="4" y="83"/>
                    <a:pt x="4" y="53"/>
                  </a:cubicBezTo>
                  <a:cubicBezTo>
                    <a:pt x="4" y="21"/>
                    <a:pt x="32" y="0"/>
                    <a:pt x="71" y="0"/>
                  </a:cubicBezTo>
                  <a:cubicBezTo>
                    <a:pt x="96" y="0"/>
                    <a:pt x="112" y="3"/>
                    <a:pt x="126" y="8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07" y="37"/>
                    <a:pt x="90" y="33"/>
                    <a:pt x="77" y="33"/>
                  </a:cubicBezTo>
                  <a:cubicBezTo>
                    <a:pt x="64" y="33"/>
                    <a:pt x="54" y="38"/>
                    <a:pt x="54" y="46"/>
                  </a:cubicBezTo>
                  <a:cubicBezTo>
                    <a:pt x="54" y="50"/>
                    <a:pt x="57" y="56"/>
                    <a:pt x="64" y="58"/>
                  </a:cubicBezTo>
                  <a:cubicBezTo>
                    <a:pt x="72" y="60"/>
                    <a:pt x="84" y="63"/>
                    <a:pt x="94" y="65"/>
                  </a:cubicBezTo>
                  <a:cubicBezTo>
                    <a:pt x="115" y="70"/>
                    <a:pt x="136" y="82"/>
                    <a:pt x="136" y="1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kumimoji="0" lang="en-US" sz="2400">
                <a:solidFill>
                  <a:srgbClr val="6D6E71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51" name="Freeform 58"/>
            <p:cNvSpPr>
              <a:spLocks noEditPoints="1"/>
            </p:cNvSpPr>
            <p:nvPr/>
          </p:nvSpPr>
          <p:spPr bwMode="gray">
            <a:xfrm>
              <a:off x="6289675" y="3173413"/>
              <a:ext cx="530225" cy="623888"/>
            </a:xfrm>
            <a:custGeom>
              <a:avLst/>
              <a:gdLst>
                <a:gd name="T0" fmla="*/ 141 w 141"/>
                <a:gd name="T1" fmla="*/ 163 h 166"/>
                <a:gd name="T2" fmla="*/ 95 w 141"/>
                <a:gd name="T3" fmla="*/ 163 h 166"/>
                <a:gd name="T4" fmla="*/ 95 w 141"/>
                <a:gd name="T5" fmla="*/ 150 h 166"/>
                <a:gd name="T6" fmla="*/ 49 w 141"/>
                <a:gd name="T7" fmla="*/ 166 h 166"/>
                <a:gd name="T8" fmla="*/ 0 w 141"/>
                <a:gd name="T9" fmla="*/ 122 h 166"/>
                <a:gd name="T10" fmla="*/ 93 w 141"/>
                <a:gd name="T11" fmla="*/ 61 h 166"/>
                <a:gd name="T12" fmla="*/ 93 w 141"/>
                <a:gd name="T13" fmla="*/ 56 h 166"/>
                <a:gd name="T14" fmla="*/ 65 w 141"/>
                <a:gd name="T15" fmla="*/ 34 h 166"/>
                <a:gd name="T16" fmla="*/ 19 w 141"/>
                <a:gd name="T17" fmla="*/ 49 h 166"/>
                <a:gd name="T18" fmla="*/ 7 w 141"/>
                <a:gd name="T19" fmla="*/ 20 h 166"/>
                <a:gd name="T20" fmla="*/ 79 w 141"/>
                <a:gd name="T21" fmla="*/ 0 h 166"/>
                <a:gd name="T22" fmla="*/ 141 w 141"/>
                <a:gd name="T23" fmla="*/ 50 h 166"/>
                <a:gd name="T24" fmla="*/ 141 w 141"/>
                <a:gd name="T25" fmla="*/ 163 h 166"/>
                <a:gd name="T26" fmla="*/ 93 w 141"/>
                <a:gd name="T27" fmla="*/ 120 h 166"/>
                <a:gd name="T28" fmla="*/ 93 w 141"/>
                <a:gd name="T29" fmla="*/ 91 h 166"/>
                <a:gd name="T30" fmla="*/ 49 w 141"/>
                <a:gd name="T31" fmla="*/ 115 h 166"/>
                <a:gd name="T32" fmla="*/ 69 w 141"/>
                <a:gd name="T33" fmla="*/ 132 h 166"/>
                <a:gd name="T34" fmla="*/ 93 w 141"/>
                <a:gd name="T35" fmla="*/ 12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1" h="166">
                  <a:moveTo>
                    <a:pt x="141" y="163"/>
                  </a:moveTo>
                  <a:cubicBezTo>
                    <a:pt x="95" y="163"/>
                    <a:pt x="95" y="163"/>
                    <a:pt x="95" y="163"/>
                  </a:cubicBezTo>
                  <a:cubicBezTo>
                    <a:pt x="95" y="150"/>
                    <a:pt x="95" y="150"/>
                    <a:pt x="95" y="150"/>
                  </a:cubicBezTo>
                  <a:cubicBezTo>
                    <a:pt x="83" y="161"/>
                    <a:pt x="67" y="166"/>
                    <a:pt x="49" y="166"/>
                  </a:cubicBezTo>
                  <a:cubicBezTo>
                    <a:pt x="20" y="166"/>
                    <a:pt x="0" y="152"/>
                    <a:pt x="0" y="122"/>
                  </a:cubicBezTo>
                  <a:cubicBezTo>
                    <a:pt x="0" y="69"/>
                    <a:pt x="52" y="61"/>
                    <a:pt x="93" y="61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3" y="43"/>
                    <a:pt x="88" y="34"/>
                    <a:pt x="65" y="34"/>
                  </a:cubicBezTo>
                  <a:cubicBezTo>
                    <a:pt x="49" y="34"/>
                    <a:pt x="31" y="42"/>
                    <a:pt x="19" y="49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28" y="8"/>
                    <a:pt x="54" y="0"/>
                    <a:pt x="79" y="0"/>
                  </a:cubicBezTo>
                  <a:cubicBezTo>
                    <a:pt x="117" y="0"/>
                    <a:pt x="141" y="18"/>
                    <a:pt x="141" y="50"/>
                  </a:cubicBezTo>
                  <a:lnTo>
                    <a:pt x="141" y="163"/>
                  </a:lnTo>
                  <a:close/>
                  <a:moveTo>
                    <a:pt x="93" y="120"/>
                  </a:moveTo>
                  <a:cubicBezTo>
                    <a:pt x="93" y="91"/>
                    <a:pt x="93" y="91"/>
                    <a:pt x="93" y="91"/>
                  </a:cubicBezTo>
                  <a:cubicBezTo>
                    <a:pt x="70" y="90"/>
                    <a:pt x="49" y="93"/>
                    <a:pt x="49" y="115"/>
                  </a:cubicBezTo>
                  <a:cubicBezTo>
                    <a:pt x="49" y="128"/>
                    <a:pt x="60" y="132"/>
                    <a:pt x="69" y="132"/>
                  </a:cubicBezTo>
                  <a:cubicBezTo>
                    <a:pt x="79" y="132"/>
                    <a:pt x="87" y="127"/>
                    <a:pt x="93" y="1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kumimoji="0" lang="en-US" sz="2400">
                <a:solidFill>
                  <a:srgbClr val="6D6E71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Freeform 59"/>
            <p:cNvSpPr>
              <a:spLocks noEditPoints="1"/>
            </p:cNvSpPr>
            <p:nvPr/>
          </p:nvSpPr>
          <p:spPr bwMode="gray">
            <a:xfrm>
              <a:off x="4502150" y="3173413"/>
              <a:ext cx="596900" cy="623888"/>
            </a:xfrm>
            <a:custGeom>
              <a:avLst/>
              <a:gdLst>
                <a:gd name="T0" fmla="*/ 159 w 159"/>
                <a:gd name="T1" fmla="*/ 77 h 166"/>
                <a:gd name="T2" fmla="*/ 158 w 159"/>
                <a:gd name="T3" fmla="*/ 94 h 166"/>
                <a:gd name="T4" fmla="*/ 53 w 159"/>
                <a:gd name="T5" fmla="*/ 94 h 166"/>
                <a:gd name="T6" fmla="*/ 98 w 159"/>
                <a:gd name="T7" fmla="*/ 130 h 166"/>
                <a:gd name="T8" fmla="*/ 139 w 159"/>
                <a:gd name="T9" fmla="*/ 118 h 166"/>
                <a:gd name="T10" fmla="*/ 152 w 159"/>
                <a:gd name="T11" fmla="*/ 148 h 166"/>
                <a:gd name="T12" fmla="*/ 81 w 159"/>
                <a:gd name="T13" fmla="*/ 166 h 166"/>
                <a:gd name="T14" fmla="*/ 0 w 159"/>
                <a:gd name="T15" fmla="*/ 83 h 166"/>
                <a:gd name="T16" fmla="*/ 84 w 159"/>
                <a:gd name="T17" fmla="*/ 0 h 166"/>
                <a:gd name="T18" fmla="*/ 159 w 159"/>
                <a:gd name="T19" fmla="*/ 77 h 166"/>
                <a:gd name="T20" fmla="*/ 108 w 159"/>
                <a:gd name="T21" fmla="*/ 62 h 166"/>
                <a:gd name="T22" fmla="*/ 83 w 159"/>
                <a:gd name="T23" fmla="*/ 34 h 166"/>
                <a:gd name="T24" fmla="*/ 53 w 159"/>
                <a:gd name="T25" fmla="*/ 62 h 166"/>
                <a:gd name="T26" fmla="*/ 108 w 159"/>
                <a:gd name="T27" fmla="*/ 62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9" h="166">
                  <a:moveTo>
                    <a:pt x="159" y="77"/>
                  </a:moveTo>
                  <a:cubicBezTo>
                    <a:pt x="159" y="83"/>
                    <a:pt x="158" y="88"/>
                    <a:pt x="158" y="94"/>
                  </a:cubicBezTo>
                  <a:cubicBezTo>
                    <a:pt x="53" y="94"/>
                    <a:pt x="53" y="94"/>
                    <a:pt x="53" y="94"/>
                  </a:cubicBezTo>
                  <a:cubicBezTo>
                    <a:pt x="53" y="117"/>
                    <a:pt x="65" y="130"/>
                    <a:pt x="98" y="130"/>
                  </a:cubicBezTo>
                  <a:cubicBezTo>
                    <a:pt x="113" y="130"/>
                    <a:pt x="131" y="124"/>
                    <a:pt x="139" y="118"/>
                  </a:cubicBezTo>
                  <a:cubicBezTo>
                    <a:pt x="152" y="148"/>
                    <a:pt x="152" y="148"/>
                    <a:pt x="152" y="148"/>
                  </a:cubicBezTo>
                  <a:cubicBezTo>
                    <a:pt x="130" y="160"/>
                    <a:pt x="107" y="166"/>
                    <a:pt x="81" y="166"/>
                  </a:cubicBezTo>
                  <a:cubicBezTo>
                    <a:pt x="31" y="166"/>
                    <a:pt x="0" y="134"/>
                    <a:pt x="0" y="83"/>
                  </a:cubicBezTo>
                  <a:cubicBezTo>
                    <a:pt x="0" y="32"/>
                    <a:pt x="41" y="0"/>
                    <a:pt x="84" y="0"/>
                  </a:cubicBezTo>
                  <a:cubicBezTo>
                    <a:pt x="139" y="0"/>
                    <a:pt x="159" y="32"/>
                    <a:pt x="159" y="77"/>
                  </a:cubicBezTo>
                  <a:close/>
                  <a:moveTo>
                    <a:pt x="108" y="62"/>
                  </a:moveTo>
                  <a:cubicBezTo>
                    <a:pt x="109" y="44"/>
                    <a:pt x="100" y="34"/>
                    <a:pt x="83" y="34"/>
                  </a:cubicBezTo>
                  <a:cubicBezTo>
                    <a:pt x="66" y="34"/>
                    <a:pt x="56" y="46"/>
                    <a:pt x="53" y="62"/>
                  </a:cubicBezTo>
                  <a:lnTo>
                    <a:pt x="108" y="6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kumimoji="0" lang="en-US" sz="2400">
                <a:solidFill>
                  <a:srgbClr val="6D6E71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Freeform 60"/>
            <p:cNvSpPr>
              <a:spLocks noEditPoints="1"/>
            </p:cNvSpPr>
            <p:nvPr/>
          </p:nvSpPr>
          <p:spPr bwMode="gray">
            <a:xfrm>
              <a:off x="3863975" y="3170238"/>
              <a:ext cx="642938" cy="946150"/>
            </a:xfrm>
            <a:custGeom>
              <a:avLst/>
              <a:gdLst>
                <a:gd name="T0" fmla="*/ 171 w 171"/>
                <a:gd name="T1" fmla="*/ 183 h 252"/>
                <a:gd name="T2" fmla="*/ 79 w 171"/>
                <a:gd name="T3" fmla="*/ 251 h 252"/>
                <a:gd name="T4" fmla="*/ 0 w 171"/>
                <a:gd name="T5" fmla="*/ 201 h 252"/>
                <a:gd name="T6" fmla="*/ 26 w 171"/>
                <a:gd name="T7" fmla="*/ 165 h 252"/>
                <a:gd name="T8" fmla="*/ 11 w 171"/>
                <a:gd name="T9" fmla="*/ 155 h 252"/>
                <a:gd name="T10" fmla="*/ 3 w 171"/>
                <a:gd name="T11" fmla="*/ 130 h 252"/>
                <a:gd name="T12" fmla="*/ 33 w 171"/>
                <a:gd name="T13" fmla="*/ 91 h 252"/>
                <a:gd name="T14" fmla="*/ 12 w 171"/>
                <a:gd name="T15" fmla="*/ 52 h 252"/>
                <a:gd name="T16" fmla="*/ 86 w 171"/>
                <a:gd name="T17" fmla="*/ 0 h 252"/>
                <a:gd name="T18" fmla="*/ 156 w 171"/>
                <a:gd name="T19" fmla="*/ 51 h 252"/>
                <a:gd name="T20" fmla="*/ 81 w 171"/>
                <a:gd name="T21" fmla="*/ 105 h 252"/>
                <a:gd name="T22" fmla="*/ 61 w 171"/>
                <a:gd name="T23" fmla="*/ 103 h 252"/>
                <a:gd name="T24" fmla="*/ 49 w 171"/>
                <a:gd name="T25" fmla="*/ 117 h 252"/>
                <a:gd name="T26" fmla="*/ 73 w 171"/>
                <a:gd name="T27" fmla="*/ 131 h 252"/>
                <a:gd name="T28" fmla="*/ 112 w 171"/>
                <a:gd name="T29" fmla="*/ 131 h 252"/>
                <a:gd name="T30" fmla="*/ 171 w 171"/>
                <a:gd name="T31" fmla="*/ 183 h 252"/>
                <a:gd name="T32" fmla="*/ 108 w 171"/>
                <a:gd name="T33" fmla="*/ 53 h 252"/>
                <a:gd name="T34" fmla="*/ 84 w 171"/>
                <a:gd name="T35" fmla="*/ 29 h 252"/>
                <a:gd name="T36" fmla="*/ 60 w 171"/>
                <a:gd name="T37" fmla="*/ 53 h 252"/>
                <a:gd name="T38" fmla="*/ 83 w 171"/>
                <a:gd name="T39" fmla="*/ 77 h 252"/>
                <a:gd name="T40" fmla="*/ 108 w 171"/>
                <a:gd name="T41" fmla="*/ 53 h 252"/>
                <a:gd name="T42" fmla="*/ 121 w 171"/>
                <a:gd name="T43" fmla="*/ 190 h 252"/>
                <a:gd name="T44" fmla="*/ 100 w 171"/>
                <a:gd name="T45" fmla="*/ 172 h 252"/>
                <a:gd name="T46" fmla="*/ 57 w 171"/>
                <a:gd name="T47" fmla="*/ 172 h 252"/>
                <a:gd name="T48" fmla="*/ 40 w 171"/>
                <a:gd name="T49" fmla="*/ 195 h 252"/>
                <a:gd name="T50" fmla="*/ 81 w 171"/>
                <a:gd name="T51" fmla="*/ 218 h 252"/>
                <a:gd name="T52" fmla="*/ 121 w 171"/>
                <a:gd name="T53" fmla="*/ 190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1" h="252">
                  <a:moveTo>
                    <a:pt x="171" y="183"/>
                  </a:moveTo>
                  <a:cubicBezTo>
                    <a:pt x="171" y="230"/>
                    <a:pt x="124" y="251"/>
                    <a:pt x="79" y="251"/>
                  </a:cubicBezTo>
                  <a:cubicBezTo>
                    <a:pt x="39" y="252"/>
                    <a:pt x="0" y="240"/>
                    <a:pt x="0" y="201"/>
                  </a:cubicBezTo>
                  <a:cubicBezTo>
                    <a:pt x="0" y="183"/>
                    <a:pt x="16" y="171"/>
                    <a:pt x="26" y="165"/>
                  </a:cubicBezTo>
                  <a:cubicBezTo>
                    <a:pt x="20" y="162"/>
                    <a:pt x="15" y="160"/>
                    <a:pt x="11" y="155"/>
                  </a:cubicBezTo>
                  <a:cubicBezTo>
                    <a:pt x="7" y="150"/>
                    <a:pt x="3" y="142"/>
                    <a:pt x="3" y="130"/>
                  </a:cubicBezTo>
                  <a:cubicBezTo>
                    <a:pt x="3" y="115"/>
                    <a:pt x="17" y="100"/>
                    <a:pt x="33" y="91"/>
                  </a:cubicBezTo>
                  <a:cubicBezTo>
                    <a:pt x="24" y="86"/>
                    <a:pt x="12" y="78"/>
                    <a:pt x="12" y="52"/>
                  </a:cubicBezTo>
                  <a:cubicBezTo>
                    <a:pt x="12" y="18"/>
                    <a:pt x="44" y="0"/>
                    <a:pt x="86" y="0"/>
                  </a:cubicBezTo>
                  <a:cubicBezTo>
                    <a:pt x="122" y="0"/>
                    <a:pt x="156" y="9"/>
                    <a:pt x="156" y="51"/>
                  </a:cubicBezTo>
                  <a:cubicBezTo>
                    <a:pt x="156" y="91"/>
                    <a:pt x="119" y="105"/>
                    <a:pt x="81" y="105"/>
                  </a:cubicBezTo>
                  <a:cubicBezTo>
                    <a:pt x="73" y="105"/>
                    <a:pt x="67" y="104"/>
                    <a:pt x="61" y="103"/>
                  </a:cubicBezTo>
                  <a:cubicBezTo>
                    <a:pt x="57" y="105"/>
                    <a:pt x="49" y="111"/>
                    <a:pt x="49" y="117"/>
                  </a:cubicBezTo>
                  <a:cubicBezTo>
                    <a:pt x="49" y="129"/>
                    <a:pt x="66" y="131"/>
                    <a:pt x="73" y="131"/>
                  </a:cubicBezTo>
                  <a:cubicBezTo>
                    <a:pt x="112" y="131"/>
                    <a:pt x="112" y="131"/>
                    <a:pt x="112" y="131"/>
                  </a:cubicBezTo>
                  <a:cubicBezTo>
                    <a:pt x="149" y="131"/>
                    <a:pt x="171" y="148"/>
                    <a:pt x="171" y="183"/>
                  </a:cubicBezTo>
                  <a:close/>
                  <a:moveTo>
                    <a:pt x="108" y="53"/>
                  </a:moveTo>
                  <a:cubicBezTo>
                    <a:pt x="108" y="40"/>
                    <a:pt x="101" y="29"/>
                    <a:pt x="84" y="29"/>
                  </a:cubicBezTo>
                  <a:cubicBezTo>
                    <a:pt x="69" y="29"/>
                    <a:pt x="60" y="42"/>
                    <a:pt x="60" y="53"/>
                  </a:cubicBezTo>
                  <a:cubicBezTo>
                    <a:pt x="60" y="67"/>
                    <a:pt x="68" y="77"/>
                    <a:pt x="83" y="77"/>
                  </a:cubicBezTo>
                  <a:cubicBezTo>
                    <a:pt x="100" y="77"/>
                    <a:pt x="108" y="66"/>
                    <a:pt x="108" y="53"/>
                  </a:cubicBezTo>
                  <a:close/>
                  <a:moveTo>
                    <a:pt x="121" y="190"/>
                  </a:moveTo>
                  <a:cubicBezTo>
                    <a:pt x="121" y="177"/>
                    <a:pt x="111" y="172"/>
                    <a:pt x="100" y="172"/>
                  </a:cubicBezTo>
                  <a:cubicBezTo>
                    <a:pt x="57" y="172"/>
                    <a:pt x="57" y="172"/>
                    <a:pt x="57" y="172"/>
                  </a:cubicBezTo>
                  <a:cubicBezTo>
                    <a:pt x="50" y="176"/>
                    <a:pt x="40" y="184"/>
                    <a:pt x="40" y="195"/>
                  </a:cubicBezTo>
                  <a:cubicBezTo>
                    <a:pt x="40" y="209"/>
                    <a:pt x="59" y="218"/>
                    <a:pt x="81" y="218"/>
                  </a:cubicBezTo>
                  <a:cubicBezTo>
                    <a:pt x="104" y="218"/>
                    <a:pt x="121" y="208"/>
                    <a:pt x="121" y="19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kumimoji="0" lang="en-US" sz="2400">
                <a:solidFill>
                  <a:srgbClr val="6D6E71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54" name="Freeform 61"/>
            <p:cNvSpPr>
              <a:spLocks noEditPoints="1"/>
            </p:cNvSpPr>
            <p:nvPr/>
          </p:nvSpPr>
          <p:spPr bwMode="gray">
            <a:xfrm>
              <a:off x="6929438" y="3563938"/>
              <a:ext cx="206375" cy="203200"/>
            </a:xfrm>
            <a:custGeom>
              <a:avLst/>
              <a:gdLst>
                <a:gd name="T0" fmla="*/ 27 w 55"/>
                <a:gd name="T1" fmla="*/ 0 h 54"/>
                <a:gd name="T2" fmla="*/ 55 w 55"/>
                <a:gd name="T3" fmla="*/ 27 h 54"/>
                <a:gd name="T4" fmla="*/ 27 w 55"/>
                <a:gd name="T5" fmla="*/ 54 h 54"/>
                <a:gd name="T6" fmla="*/ 0 w 55"/>
                <a:gd name="T7" fmla="*/ 27 h 54"/>
                <a:gd name="T8" fmla="*/ 27 w 55"/>
                <a:gd name="T9" fmla="*/ 0 h 54"/>
                <a:gd name="T10" fmla="*/ 27 w 55"/>
                <a:gd name="T11" fmla="*/ 49 h 54"/>
                <a:gd name="T12" fmla="*/ 48 w 55"/>
                <a:gd name="T13" fmla="*/ 27 h 54"/>
                <a:gd name="T14" fmla="*/ 27 w 55"/>
                <a:gd name="T15" fmla="*/ 6 h 54"/>
                <a:gd name="T16" fmla="*/ 7 w 55"/>
                <a:gd name="T17" fmla="*/ 27 h 54"/>
                <a:gd name="T18" fmla="*/ 27 w 55"/>
                <a:gd name="T19" fmla="*/ 49 h 54"/>
                <a:gd name="T20" fmla="*/ 17 w 55"/>
                <a:gd name="T21" fmla="*/ 12 h 54"/>
                <a:gd name="T22" fmla="*/ 28 w 55"/>
                <a:gd name="T23" fmla="*/ 12 h 54"/>
                <a:gd name="T24" fmla="*/ 40 w 55"/>
                <a:gd name="T25" fmla="*/ 21 h 54"/>
                <a:gd name="T26" fmla="*/ 32 w 55"/>
                <a:gd name="T27" fmla="*/ 29 h 54"/>
                <a:gd name="T28" fmla="*/ 40 w 55"/>
                <a:gd name="T29" fmla="*/ 42 h 54"/>
                <a:gd name="T30" fmla="*/ 34 w 55"/>
                <a:gd name="T31" fmla="*/ 42 h 54"/>
                <a:gd name="T32" fmla="*/ 26 w 55"/>
                <a:gd name="T33" fmla="*/ 29 h 54"/>
                <a:gd name="T34" fmla="*/ 23 w 55"/>
                <a:gd name="T35" fmla="*/ 29 h 54"/>
                <a:gd name="T36" fmla="*/ 23 w 55"/>
                <a:gd name="T37" fmla="*/ 42 h 54"/>
                <a:gd name="T38" fmla="*/ 17 w 55"/>
                <a:gd name="T39" fmla="*/ 42 h 54"/>
                <a:gd name="T40" fmla="*/ 17 w 55"/>
                <a:gd name="T41" fmla="*/ 12 h 54"/>
                <a:gd name="T42" fmla="*/ 23 w 55"/>
                <a:gd name="T43" fmla="*/ 25 h 54"/>
                <a:gd name="T44" fmla="*/ 28 w 55"/>
                <a:gd name="T45" fmla="*/ 25 h 54"/>
                <a:gd name="T46" fmla="*/ 34 w 55"/>
                <a:gd name="T47" fmla="*/ 20 h 54"/>
                <a:gd name="T48" fmla="*/ 28 w 55"/>
                <a:gd name="T49" fmla="*/ 17 h 54"/>
                <a:gd name="T50" fmla="*/ 23 w 55"/>
                <a:gd name="T51" fmla="*/ 17 h 54"/>
                <a:gd name="T52" fmla="*/ 23 w 55"/>
                <a:gd name="T53" fmla="*/ 2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4">
                  <a:moveTo>
                    <a:pt x="27" y="0"/>
                  </a:moveTo>
                  <a:cubicBezTo>
                    <a:pt x="42" y="0"/>
                    <a:pt x="55" y="11"/>
                    <a:pt x="55" y="27"/>
                  </a:cubicBezTo>
                  <a:cubicBezTo>
                    <a:pt x="55" y="44"/>
                    <a:pt x="42" y="54"/>
                    <a:pt x="27" y="54"/>
                  </a:cubicBezTo>
                  <a:cubicBezTo>
                    <a:pt x="13" y="54"/>
                    <a:pt x="0" y="44"/>
                    <a:pt x="0" y="27"/>
                  </a:cubicBezTo>
                  <a:cubicBezTo>
                    <a:pt x="0" y="11"/>
                    <a:pt x="13" y="0"/>
                    <a:pt x="27" y="0"/>
                  </a:cubicBezTo>
                  <a:close/>
                  <a:moveTo>
                    <a:pt x="27" y="49"/>
                  </a:moveTo>
                  <a:cubicBezTo>
                    <a:pt x="39" y="49"/>
                    <a:pt x="48" y="40"/>
                    <a:pt x="48" y="27"/>
                  </a:cubicBezTo>
                  <a:cubicBezTo>
                    <a:pt x="48" y="15"/>
                    <a:pt x="39" y="6"/>
                    <a:pt x="27" y="6"/>
                  </a:cubicBezTo>
                  <a:cubicBezTo>
                    <a:pt x="16" y="6"/>
                    <a:pt x="7" y="15"/>
                    <a:pt x="7" y="27"/>
                  </a:cubicBezTo>
                  <a:cubicBezTo>
                    <a:pt x="7" y="40"/>
                    <a:pt x="16" y="49"/>
                    <a:pt x="27" y="49"/>
                  </a:cubicBezTo>
                  <a:close/>
                  <a:moveTo>
                    <a:pt x="17" y="12"/>
                  </a:moveTo>
                  <a:cubicBezTo>
                    <a:pt x="28" y="12"/>
                    <a:pt x="28" y="12"/>
                    <a:pt x="28" y="12"/>
                  </a:cubicBezTo>
                  <a:cubicBezTo>
                    <a:pt x="36" y="12"/>
                    <a:pt x="40" y="14"/>
                    <a:pt x="40" y="21"/>
                  </a:cubicBezTo>
                  <a:cubicBezTo>
                    <a:pt x="40" y="27"/>
                    <a:pt x="36" y="29"/>
                    <a:pt x="32" y="29"/>
                  </a:cubicBezTo>
                  <a:cubicBezTo>
                    <a:pt x="40" y="42"/>
                    <a:pt x="40" y="42"/>
                    <a:pt x="40" y="42"/>
                  </a:cubicBezTo>
                  <a:cubicBezTo>
                    <a:pt x="34" y="42"/>
                    <a:pt x="34" y="42"/>
                    <a:pt x="34" y="42"/>
                  </a:cubicBezTo>
                  <a:cubicBezTo>
                    <a:pt x="26" y="29"/>
                    <a:pt x="26" y="29"/>
                    <a:pt x="26" y="29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17" y="42"/>
                    <a:pt x="17" y="42"/>
                    <a:pt x="17" y="42"/>
                  </a:cubicBezTo>
                  <a:lnTo>
                    <a:pt x="17" y="12"/>
                  </a:lnTo>
                  <a:close/>
                  <a:moveTo>
                    <a:pt x="23" y="25"/>
                  </a:moveTo>
                  <a:cubicBezTo>
                    <a:pt x="28" y="25"/>
                    <a:pt x="28" y="25"/>
                    <a:pt x="28" y="25"/>
                  </a:cubicBezTo>
                  <a:cubicBezTo>
                    <a:pt x="31" y="25"/>
                    <a:pt x="34" y="24"/>
                    <a:pt x="34" y="20"/>
                  </a:cubicBezTo>
                  <a:cubicBezTo>
                    <a:pt x="34" y="17"/>
                    <a:pt x="30" y="17"/>
                    <a:pt x="28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2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kumimoji="0" lang="en-US" sz="2400">
                <a:solidFill>
                  <a:srgbClr val="6D6E71"/>
                </a:solidFill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68" name="Title 67"/>
          <p:cNvSpPr>
            <a:spLocks noGrp="1"/>
          </p:cNvSpPr>
          <p:nvPr>
            <p:ph type="title"/>
          </p:nvPr>
        </p:nvSpPr>
        <p:spPr>
          <a:xfrm>
            <a:off x="220477" y="2870385"/>
            <a:ext cx="6242752" cy="1482179"/>
          </a:xfrm>
        </p:spPr>
        <p:txBody>
          <a:bodyPr anchor="t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9" name="TextBox 68"/>
          <p:cNvSpPr txBox="1"/>
          <p:nvPr userDrawn="1"/>
        </p:nvSpPr>
        <p:spPr>
          <a:xfrm>
            <a:off x="13893800" y="2870385"/>
            <a:ext cx="1219200" cy="121920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800"/>
              </a:spcAft>
            </a:pPr>
            <a:endParaRPr lang="en-US" sz="2667" err="1"/>
          </a:p>
        </p:txBody>
      </p:sp>
      <p:sp>
        <p:nvSpPr>
          <p:cNvPr id="70" name="Subtitle 2"/>
          <p:cNvSpPr>
            <a:spLocks noGrp="1"/>
          </p:cNvSpPr>
          <p:nvPr>
            <p:ph type="subTitle" idx="1"/>
          </p:nvPr>
        </p:nvSpPr>
        <p:spPr bwMode="gray">
          <a:xfrm>
            <a:off x="220478" y="4529072"/>
            <a:ext cx="8801101" cy="615553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None/>
              <a:defRPr sz="2133" b="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73620174"/>
      </p:ext>
    </p:extLst>
  </p:cSld>
  <p:clrMapOvr>
    <a:masterClrMapping/>
  </p:clrMapOvr>
  <p:transition>
    <p:wipe dir="r"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7418" y="179917"/>
            <a:ext cx="11279716" cy="812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800"/>
              </a:spcAft>
              <a:defRPr/>
            </a:lvl1pPr>
            <a:lvl2pPr>
              <a:spcAft>
                <a:spcPts val="800"/>
              </a:spcAft>
              <a:defRPr/>
            </a:lvl2pPr>
            <a:lvl3pPr>
              <a:spcAft>
                <a:spcPts val="800"/>
              </a:spcAft>
              <a:defRPr/>
            </a:lvl3pPr>
            <a:lvl4pPr>
              <a:spcAft>
                <a:spcPts val="800"/>
              </a:spcAft>
              <a:defRPr/>
            </a:lvl4pPr>
            <a:lvl5pPr>
              <a:spcAft>
                <a:spcPts val="8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877378"/>
      </p:ext>
    </p:extLst>
  </p:cSld>
  <p:clrMapOvr>
    <a:masterClrMapping/>
  </p:clrMapOvr>
  <p:transition>
    <p:wipe dir="r"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2933" b="1" cap="none" baseline="0"/>
            </a:lvl1pPr>
          </a:lstStyle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667" b="0"/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95468082"/>
      </p:ext>
    </p:extLst>
  </p:cSld>
  <p:clrMapOvr>
    <a:masterClrMapping/>
  </p:clrMapOvr>
  <p:transition>
    <p:wipe dir="r"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7417" y="1211265"/>
            <a:ext cx="5537200" cy="4730751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37822" y="1211265"/>
            <a:ext cx="5539316" cy="4730751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1095571"/>
      </p:ext>
    </p:extLst>
  </p:cSld>
  <p:clrMapOvr>
    <a:masterClrMapping/>
  </p:clrMapOvr>
  <p:transition>
    <p:wipe dir="r"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3"/>
          </a:xfrm>
        </p:spPr>
        <p:txBody>
          <a:bodyPr anchor="b"/>
          <a:lstStyle>
            <a:lvl1pPr marL="0" indent="0">
              <a:buNone/>
              <a:defRPr sz="2667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667"/>
            </a:lvl1pPr>
            <a:lvl2pPr>
              <a:defRPr sz="2667"/>
            </a:lvl2pPr>
            <a:lvl3pPr>
              <a:defRPr sz="2667"/>
            </a:lvl3pPr>
            <a:lvl4pPr>
              <a:defRPr sz="2667"/>
            </a:lvl4pPr>
            <a:lvl5pPr>
              <a:defRPr sz="2667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2" y="1535113"/>
            <a:ext cx="5389033" cy="639763"/>
          </a:xfrm>
          <a:noFill/>
          <a:ln w="9525">
            <a:noFill/>
            <a:miter lim="800000"/>
            <a:headEnd/>
            <a:tailEnd/>
          </a:ln>
        </p:spPr>
        <p:txBody>
          <a:bodyPr anchor="b"/>
          <a:lstStyle>
            <a:lvl1pPr marL="0" indent="0">
              <a:buNone/>
              <a:defRPr lang="en-US" sz="2667" b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2" y="2174875"/>
            <a:ext cx="5389033" cy="3951288"/>
          </a:xfrm>
        </p:spPr>
        <p:txBody>
          <a:bodyPr/>
          <a:lstStyle>
            <a:lvl1pPr>
              <a:defRPr sz="2667"/>
            </a:lvl1pPr>
            <a:lvl2pPr>
              <a:defRPr sz="2667"/>
            </a:lvl2pPr>
            <a:lvl3pPr>
              <a:defRPr sz="2667"/>
            </a:lvl3pPr>
            <a:lvl4pPr>
              <a:defRPr sz="2667"/>
            </a:lvl4pPr>
            <a:lvl5pPr>
              <a:defRPr sz="2667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64050406"/>
      </p:ext>
    </p:extLst>
  </p:cSld>
  <p:clrMapOvr>
    <a:masterClrMapping/>
  </p:clrMapOvr>
  <p:transition>
    <p:wipe dir="r"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21880903"/>
      </p:ext>
    </p:extLst>
  </p:cSld>
  <p:clrMapOvr>
    <a:masterClrMapping/>
  </p:clrMapOvr>
  <p:transition>
    <p:wipe dir="r"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52097555"/>
      </p:ext>
    </p:extLst>
  </p:cSld>
  <p:clrMapOvr>
    <a:masterClrMapping/>
  </p:clrMapOvr>
  <p:transition>
    <p:wipe dir="r"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49"/>
            <a:ext cx="4011084" cy="1162051"/>
          </a:xfrm>
        </p:spPr>
        <p:txBody>
          <a:bodyPr anchor="b"/>
          <a:lstStyle>
            <a:lvl1pPr algn="l">
              <a:defRPr sz="2933" b="1"/>
            </a:lvl1pPr>
          </a:lstStyle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2667"/>
            </a:lvl1pPr>
            <a:lvl2pPr>
              <a:defRPr sz="2667"/>
            </a:lvl2pPr>
            <a:lvl3pPr>
              <a:defRPr sz="2667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3"/>
            <a:ext cx="4011084" cy="46910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89839174"/>
      </p:ext>
    </p:extLst>
  </p:cSld>
  <p:clrMapOvr>
    <a:masterClrMapping/>
  </p:clrMapOvr>
  <p:transition>
    <p:wipe dir="r"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1"/>
            <a:ext cx="7315200" cy="566739"/>
          </a:xfrm>
        </p:spPr>
        <p:txBody>
          <a:bodyPr anchor="b"/>
          <a:lstStyle>
            <a:lvl1pPr algn="l">
              <a:defRPr sz="2933" b="1"/>
            </a:lvl1pPr>
          </a:lstStyle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>
            <a:normAutofit/>
          </a:bodyPr>
          <a:lstStyle>
            <a:lvl1pPr marL="0" indent="0">
              <a:buNone/>
              <a:defRPr sz="26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pPr lvl="0"/>
            <a:r>
              <a:rPr lang="en-US" noProof="0"/>
              <a:t>Click icon to add picture</a:t>
            </a:r>
            <a:endParaRPr lang="de-CH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9"/>
            <a:ext cx="7315200" cy="8048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11858657"/>
      </p:ext>
    </p:extLst>
  </p:cSld>
  <p:clrMapOvr>
    <a:masterClrMapping/>
  </p:clrMapOvr>
  <p:transition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346200" y="1650999"/>
            <a:ext cx="9789584" cy="176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1327248" y="3647603"/>
            <a:ext cx="9796497" cy="17667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3572C-12F5-47C0-A119-BE3602A66766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>Classification: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403070458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05788471"/>
      </p:ext>
    </p:extLst>
  </p:cSld>
  <p:clrMapOvr>
    <a:masterClrMapping/>
  </p:clrMapOvr>
  <p:transition>
    <p:wipe dir="r"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57733" y="88902"/>
            <a:ext cx="2819400" cy="58531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7422" y="88902"/>
            <a:ext cx="8257116" cy="585311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49912949"/>
      </p:ext>
    </p:extLst>
  </p:cSld>
  <p:clrMapOvr>
    <a:masterClrMapping/>
  </p:clrMapOvr>
  <p:transition>
    <p:wipe dir="r"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gray">
          <a:xfrm>
            <a:off x="10854833" y="0"/>
            <a:ext cx="1335735" cy="6861471"/>
          </a:xfrm>
          <a:prstGeom prst="rect">
            <a:avLst/>
          </a:prstGeom>
          <a:solidFill>
            <a:srgbClr val="7AB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gray">
          <a:xfrm>
            <a:off x="1" y="6055930"/>
            <a:ext cx="10848089" cy="741199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40" name="Rectangle 10"/>
          <p:cNvSpPr>
            <a:spLocks noChangeArrowheads="1"/>
          </p:cNvSpPr>
          <p:nvPr userDrawn="1"/>
        </p:nvSpPr>
        <p:spPr bwMode="gray">
          <a:xfrm>
            <a:off x="-1" y="5079435"/>
            <a:ext cx="12192001" cy="887599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en-US" sz="2400">
              <a:solidFill>
                <a:srgbClr val="6D6E71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5" name="Freeform 4"/>
          <p:cNvSpPr>
            <a:spLocks noEditPoints="1"/>
          </p:cNvSpPr>
          <p:nvPr userDrawn="1"/>
        </p:nvSpPr>
        <p:spPr bwMode="gray">
          <a:xfrm>
            <a:off x="10885512" y="622998"/>
            <a:ext cx="1267632" cy="5973852"/>
          </a:xfrm>
          <a:custGeom>
            <a:avLst/>
            <a:gdLst>
              <a:gd name="T0" fmla="*/ 246 w 404"/>
              <a:gd name="T1" fmla="*/ 1196 h 1884"/>
              <a:gd name="T2" fmla="*/ 220 w 404"/>
              <a:gd name="T3" fmla="*/ 1280 h 1884"/>
              <a:gd name="T4" fmla="*/ 146 w 404"/>
              <a:gd name="T5" fmla="*/ 1336 h 1884"/>
              <a:gd name="T6" fmla="*/ 0 w 404"/>
              <a:gd name="T7" fmla="*/ 1385 h 1884"/>
              <a:gd name="T8" fmla="*/ 0 w 404"/>
              <a:gd name="T9" fmla="*/ 1451 h 1884"/>
              <a:gd name="T10" fmla="*/ 201 w 404"/>
              <a:gd name="T11" fmla="*/ 1350 h 1884"/>
              <a:gd name="T12" fmla="*/ 252 w 404"/>
              <a:gd name="T13" fmla="*/ 1236 h 1884"/>
              <a:gd name="T14" fmla="*/ 246 w 404"/>
              <a:gd name="T15" fmla="*/ 1196 h 1884"/>
              <a:gd name="T16" fmla="*/ 0 w 404"/>
              <a:gd name="T17" fmla="*/ 0 h 1884"/>
              <a:gd name="T18" fmla="*/ 0 w 404"/>
              <a:gd name="T19" fmla="*/ 257 h 1884"/>
              <a:gd name="T20" fmla="*/ 312 w 404"/>
              <a:gd name="T21" fmla="*/ 1053 h 1884"/>
              <a:gd name="T22" fmla="*/ 321 w 404"/>
              <a:gd name="T23" fmla="*/ 1200 h 1884"/>
              <a:gd name="T24" fmla="*/ 167 w 404"/>
              <a:gd name="T25" fmla="*/ 1662 h 1884"/>
              <a:gd name="T26" fmla="*/ 0 w 404"/>
              <a:gd name="T27" fmla="*/ 1794 h 1884"/>
              <a:gd name="T28" fmla="*/ 0 w 404"/>
              <a:gd name="T29" fmla="*/ 1884 h 1884"/>
              <a:gd name="T30" fmla="*/ 77 w 404"/>
              <a:gd name="T31" fmla="*/ 1845 h 1884"/>
              <a:gd name="T32" fmla="*/ 375 w 404"/>
              <a:gd name="T33" fmla="*/ 1427 h 1884"/>
              <a:gd name="T34" fmla="*/ 404 w 404"/>
              <a:gd name="T35" fmla="*/ 1179 h 1884"/>
              <a:gd name="T36" fmla="*/ 398 w 404"/>
              <a:gd name="T37" fmla="*/ 1059 h 1884"/>
              <a:gd name="T38" fmla="*/ 399 w 404"/>
              <a:gd name="T39" fmla="*/ 1059 h 1884"/>
              <a:gd name="T40" fmla="*/ 398 w 404"/>
              <a:gd name="T41" fmla="*/ 1059 h 1884"/>
              <a:gd name="T42" fmla="*/ 0 w 404"/>
              <a:gd name="T43" fmla="*/ 0 h 1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404" h="1884">
                <a:moveTo>
                  <a:pt x="246" y="1196"/>
                </a:moveTo>
                <a:cubicBezTo>
                  <a:pt x="246" y="1230"/>
                  <a:pt x="237" y="1258"/>
                  <a:pt x="220" y="1280"/>
                </a:cubicBezTo>
                <a:cubicBezTo>
                  <a:pt x="203" y="1303"/>
                  <a:pt x="178" y="1321"/>
                  <a:pt x="146" y="1336"/>
                </a:cubicBezTo>
                <a:cubicBezTo>
                  <a:pt x="107" y="1355"/>
                  <a:pt x="57" y="1370"/>
                  <a:pt x="0" y="1385"/>
                </a:cubicBezTo>
                <a:cubicBezTo>
                  <a:pt x="0" y="1451"/>
                  <a:pt x="0" y="1451"/>
                  <a:pt x="0" y="1451"/>
                </a:cubicBezTo>
                <a:cubicBezTo>
                  <a:pt x="101" y="1423"/>
                  <a:pt x="163" y="1387"/>
                  <a:pt x="201" y="1350"/>
                </a:cubicBezTo>
                <a:cubicBezTo>
                  <a:pt x="240" y="1310"/>
                  <a:pt x="252" y="1270"/>
                  <a:pt x="252" y="1236"/>
                </a:cubicBezTo>
                <a:cubicBezTo>
                  <a:pt x="252" y="1221"/>
                  <a:pt x="250" y="1208"/>
                  <a:pt x="246" y="1196"/>
                </a:cubicBezTo>
                <a:moveTo>
                  <a:pt x="0" y="0"/>
                </a:moveTo>
                <a:cubicBezTo>
                  <a:pt x="0" y="257"/>
                  <a:pt x="0" y="257"/>
                  <a:pt x="0" y="257"/>
                </a:cubicBezTo>
                <a:cubicBezTo>
                  <a:pt x="155" y="529"/>
                  <a:pt x="283" y="818"/>
                  <a:pt x="312" y="1053"/>
                </a:cubicBezTo>
                <a:cubicBezTo>
                  <a:pt x="318" y="1105"/>
                  <a:pt x="321" y="1154"/>
                  <a:pt x="321" y="1200"/>
                </a:cubicBezTo>
                <a:cubicBezTo>
                  <a:pt x="321" y="1417"/>
                  <a:pt x="253" y="1563"/>
                  <a:pt x="167" y="1662"/>
                </a:cubicBezTo>
                <a:cubicBezTo>
                  <a:pt x="114" y="1722"/>
                  <a:pt x="55" y="1764"/>
                  <a:pt x="0" y="1794"/>
                </a:cubicBezTo>
                <a:cubicBezTo>
                  <a:pt x="0" y="1884"/>
                  <a:pt x="0" y="1884"/>
                  <a:pt x="0" y="1884"/>
                </a:cubicBezTo>
                <a:cubicBezTo>
                  <a:pt x="27" y="1873"/>
                  <a:pt x="52" y="1861"/>
                  <a:pt x="77" y="1845"/>
                </a:cubicBezTo>
                <a:cubicBezTo>
                  <a:pt x="172" y="1785"/>
                  <a:pt x="326" y="1632"/>
                  <a:pt x="375" y="1427"/>
                </a:cubicBezTo>
                <a:cubicBezTo>
                  <a:pt x="393" y="1355"/>
                  <a:pt x="404" y="1273"/>
                  <a:pt x="404" y="1179"/>
                </a:cubicBezTo>
                <a:cubicBezTo>
                  <a:pt x="404" y="1141"/>
                  <a:pt x="402" y="1101"/>
                  <a:pt x="398" y="1059"/>
                </a:cubicBezTo>
                <a:cubicBezTo>
                  <a:pt x="399" y="1059"/>
                  <a:pt x="399" y="1059"/>
                  <a:pt x="399" y="1059"/>
                </a:cubicBezTo>
                <a:cubicBezTo>
                  <a:pt x="398" y="1059"/>
                  <a:pt x="398" y="1059"/>
                  <a:pt x="398" y="1059"/>
                </a:cubicBezTo>
                <a:cubicBezTo>
                  <a:pt x="369" y="740"/>
                  <a:pt x="187" y="339"/>
                  <a:pt x="0" y="0"/>
                </a:cubicBezTo>
              </a:path>
            </a:pathLst>
          </a:custGeom>
          <a:gradFill>
            <a:gsLst>
              <a:gs pos="10000">
                <a:srgbClr val="67AD1E"/>
              </a:gs>
              <a:gs pos="35000">
                <a:srgbClr val="67AD1E">
                  <a:alpha val="30000"/>
                </a:srgbClr>
              </a:gs>
              <a:gs pos="45000">
                <a:srgbClr val="67AD1E">
                  <a:alpha val="30000"/>
                </a:srgbClr>
              </a:gs>
              <a:gs pos="90000">
                <a:srgbClr val="67AD1E"/>
              </a:gs>
            </a:gsLst>
            <a:lin ang="3300000" scaled="0"/>
          </a:gra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41" name="Freeform 49"/>
          <p:cNvSpPr>
            <a:spLocks/>
          </p:cNvSpPr>
          <p:nvPr userDrawn="1"/>
        </p:nvSpPr>
        <p:spPr bwMode="gray">
          <a:xfrm>
            <a:off x="10857432" y="5110291"/>
            <a:ext cx="1334568" cy="887599"/>
          </a:xfrm>
          <a:custGeom>
            <a:avLst/>
            <a:gdLst>
              <a:gd name="T0" fmla="*/ 0 w 4568"/>
              <a:gd name="T1" fmla="*/ 0 h 2670"/>
              <a:gd name="T2" fmla="*/ 0 w 4568"/>
              <a:gd name="T3" fmla="*/ 2670 h 2670"/>
              <a:gd name="T4" fmla="*/ 4568 w 4568"/>
              <a:gd name="T5" fmla="*/ 2670 h 2670"/>
              <a:gd name="T6" fmla="*/ 4568 w 4568"/>
              <a:gd name="T7" fmla="*/ 0 h 2670"/>
              <a:gd name="T8" fmla="*/ 0 w 4568"/>
              <a:gd name="T9" fmla="*/ 0 h 2670"/>
              <a:gd name="T10" fmla="*/ 0 w 4568"/>
              <a:gd name="T11" fmla="*/ 0 h 26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568" h="2670">
                <a:moveTo>
                  <a:pt x="0" y="0"/>
                </a:moveTo>
                <a:lnTo>
                  <a:pt x="0" y="2670"/>
                </a:lnTo>
                <a:lnTo>
                  <a:pt x="4568" y="2670"/>
                </a:lnTo>
                <a:lnTo>
                  <a:pt x="4568" y="0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8F5A28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6D6E7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2" name="Immagine 3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5308" y="5319611"/>
            <a:ext cx="2340553" cy="497703"/>
          </a:xfrm>
          <a:prstGeom prst="rect">
            <a:avLst/>
          </a:prstGeom>
        </p:spPr>
      </p:pic>
      <p:sp>
        <p:nvSpPr>
          <p:cNvPr id="56" name="Rectangle 12"/>
          <p:cNvSpPr>
            <a:spLocks noChangeArrowheads="1"/>
          </p:cNvSpPr>
          <p:nvPr userDrawn="1"/>
        </p:nvSpPr>
        <p:spPr bwMode="gray">
          <a:xfrm>
            <a:off x="1" y="5079634"/>
            <a:ext cx="12192001" cy="110949"/>
          </a:xfrm>
          <a:prstGeom prst="rect">
            <a:avLst/>
          </a:prstGeom>
          <a:solidFill>
            <a:srgbClr val="7AB800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6D6E7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1" name="Rectangle 12"/>
          <p:cNvSpPr>
            <a:spLocks noChangeArrowheads="1"/>
          </p:cNvSpPr>
          <p:nvPr userDrawn="1"/>
        </p:nvSpPr>
        <p:spPr bwMode="gray">
          <a:xfrm>
            <a:off x="3757" y="5967588"/>
            <a:ext cx="10848000" cy="24000"/>
          </a:xfrm>
          <a:prstGeom prst="rect">
            <a:avLst/>
          </a:prstGeom>
          <a:solidFill>
            <a:srgbClr val="7AB800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grpSp>
        <p:nvGrpSpPr>
          <p:cNvPr id="42" name="Group 15"/>
          <p:cNvGrpSpPr/>
          <p:nvPr userDrawn="1"/>
        </p:nvGrpSpPr>
        <p:grpSpPr bwMode="gray">
          <a:xfrm>
            <a:off x="11054940" y="5441322"/>
            <a:ext cx="936632" cy="263828"/>
            <a:chOff x="2024063" y="2676525"/>
            <a:chExt cx="5111750" cy="1439863"/>
          </a:xfrm>
        </p:grpSpPr>
        <p:sp>
          <p:nvSpPr>
            <p:cNvPr id="43" name="Line 50"/>
            <p:cNvSpPr>
              <a:spLocks noChangeShapeType="1"/>
            </p:cNvSpPr>
            <p:nvPr/>
          </p:nvSpPr>
          <p:spPr bwMode="gray">
            <a:xfrm>
              <a:off x="2203450" y="3767138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kumimoji="0" lang="en-US" sz="2400">
                <a:solidFill>
                  <a:srgbClr val="6D6E71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Line 51"/>
            <p:cNvSpPr>
              <a:spLocks noChangeShapeType="1"/>
            </p:cNvSpPr>
            <p:nvPr/>
          </p:nvSpPr>
          <p:spPr bwMode="gray">
            <a:xfrm>
              <a:off x="2203450" y="3767138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kumimoji="0" lang="en-US" sz="2400">
                <a:solidFill>
                  <a:srgbClr val="6D6E71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gray">
            <a:xfrm>
              <a:off x="5810250" y="3003550"/>
              <a:ext cx="442913" cy="793750"/>
            </a:xfrm>
            <a:custGeom>
              <a:avLst/>
              <a:gdLst>
                <a:gd name="T0" fmla="*/ 118 w 118"/>
                <a:gd name="T1" fmla="*/ 80 h 211"/>
                <a:gd name="T2" fmla="*/ 74 w 118"/>
                <a:gd name="T3" fmla="*/ 80 h 211"/>
                <a:gd name="T4" fmla="*/ 74 w 118"/>
                <a:gd name="T5" fmla="*/ 152 h 211"/>
                <a:gd name="T6" fmla="*/ 99 w 118"/>
                <a:gd name="T7" fmla="*/ 176 h 211"/>
                <a:gd name="T8" fmla="*/ 114 w 118"/>
                <a:gd name="T9" fmla="*/ 175 h 211"/>
                <a:gd name="T10" fmla="*/ 118 w 118"/>
                <a:gd name="T11" fmla="*/ 207 h 211"/>
                <a:gd name="T12" fmla="*/ 81 w 118"/>
                <a:gd name="T13" fmla="*/ 211 h 211"/>
                <a:gd name="T14" fmla="*/ 25 w 118"/>
                <a:gd name="T15" fmla="*/ 164 h 211"/>
                <a:gd name="T16" fmla="*/ 25 w 118"/>
                <a:gd name="T17" fmla="*/ 80 h 211"/>
                <a:gd name="T18" fmla="*/ 0 w 118"/>
                <a:gd name="T19" fmla="*/ 80 h 211"/>
                <a:gd name="T20" fmla="*/ 0 w 118"/>
                <a:gd name="T21" fmla="*/ 49 h 211"/>
                <a:gd name="T22" fmla="*/ 25 w 118"/>
                <a:gd name="T23" fmla="*/ 49 h 211"/>
                <a:gd name="T24" fmla="*/ 25 w 118"/>
                <a:gd name="T25" fmla="*/ 14 h 211"/>
                <a:gd name="T26" fmla="*/ 74 w 118"/>
                <a:gd name="T27" fmla="*/ 0 h 211"/>
                <a:gd name="T28" fmla="*/ 74 w 118"/>
                <a:gd name="T29" fmla="*/ 49 h 211"/>
                <a:gd name="T30" fmla="*/ 118 w 118"/>
                <a:gd name="T31" fmla="*/ 49 h 211"/>
                <a:gd name="T32" fmla="*/ 118 w 118"/>
                <a:gd name="T33" fmla="*/ 8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8" h="211">
                  <a:moveTo>
                    <a:pt x="118" y="80"/>
                  </a:moveTo>
                  <a:cubicBezTo>
                    <a:pt x="74" y="80"/>
                    <a:pt x="74" y="80"/>
                    <a:pt x="74" y="80"/>
                  </a:cubicBezTo>
                  <a:cubicBezTo>
                    <a:pt x="74" y="152"/>
                    <a:pt x="74" y="152"/>
                    <a:pt x="74" y="152"/>
                  </a:cubicBezTo>
                  <a:cubicBezTo>
                    <a:pt x="74" y="173"/>
                    <a:pt x="85" y="176"/>
                    <a:pt x="99" y="176"/>
                  </a:cubicBezTo>
                  <a:cubicBezTo>
                    <a:pt x="104" y="176"/>
                    <a:pt x="109" y="176"/>
                    <a:pt x="114" y="175"/>
                  </a:cubicBezTo>
                  <a:cubicBezTo>
                    <a:pt x="118" y="207"/>
                    <a:pt x="118" y="207"/>
                    <a:pt x="118" y="207"/>
                  </a:cubicBezTo>
                  <a:cubicBezTo>
                    <a:pt x="106" y="209"/>
                    <a:pt x="91" y="211"/>
                    <a:pt x="81" y="211"/>
                  </a:cubicBezTo>
                  <a:cubicBezTo>
                    <a:pt x="51" y="211"/>
                    <a:pt x="25" y="201"/>
                    <a:pt x="25" y="16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4" y="49"/>
                    <a:pt x="74" y="49"/>
                    <a:pt x="74" y="49"/>
                  </a:cubicBezTo>
                  <a:cubicBezTo>
                    <a:pt x="118" y="49"/>
                    <a:pt x="118" y="49"/>
                    <a:pt x="118" y="49"/>
                  </a:cubicBezTo>
                  <a:lnTo>
                    <a:pt x="118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kumimoji="0" lang="en-US" sz="2400">
                <a:solidFill>
                  <a:srgbClr val="6D6E71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Freeform 53"/>
            <p:cNvSpPr>
              <a:spLocks/>
            </p:cNvSpPr>
            <p:nvPr/>
          </p:nvSpPr>
          <p:spPr bwMode="gray">
            <a:xfrm>
              <a:off x="5178425" y="3173413"/>
              <a:ext cx="574675" cy="612775"/>
            </a:xfrm>
            <a:custGeom>
              <a:avLst/>
              <a:gdLst>
                <a:gd name="T0" fmla="*/ 153 w 153"/>
                <a:gd name="T1" fmla="*/ 163 h 163"/>
                <a:gd name="T2" fmla="*/ 103 w 153"/>
                <a:gd name="T3" fmla="*/ 163 h 163"/>
                <a:gd name="T4" fmla="*/ 103 w 153"/>
                <a:gd name="T5" fmla="*/ 61 h 163"/>
                <a:gd name="T6" fmla="*/ 80 w 153"/>
                <a:gd name="T7" fmla="*/ 37 h 163"/>
                <a:gd name="T8" fmla="*/ 50 w 153"/>
                <a:gd name="T9" fmla="*/ 51 h 163"/>
                <a:gd name="T10" fmla="*/ 50 w 153"/>
                <a:gd name="T11" fmla="*/ 163 h 163"/>
                <a:gd name="T12" fmla="*/ 0 w 153"/>
                <a:gd name="T13" fmla="*/ 163 h 163"/>
                <a:gd name="T14" fmla="*/ 0 w 153"/>
                <a:gd name="T15" fmla="*/ 4 h 163"/>
                <a:gd name="T16" fmla="*/ 48 w 153"/>
                <a:gd name="T17" fmla="*/ 4 h 163"/>
                <a:gd name="T18" fmla="*/ 48 w 153"/>
                <a:gd name="T19" fmla="*/ 18 h 163"/>
                <a:gd name="T20" fmla="*/ 103 w 153"/>
                <a:gd name="T21" fmla="*/ 0 h 163"/>
                <a:gd name="T22" fmla="*/ 153 w 153"/>
                <a:gd name="T23" fmla="*/ 49 h 163"/>
                <a:gd name="T24" fmla="*/ 153 w 153"/>
                <a:gd name="T2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3" h="163">
                  <a:moveTo>
                    <a:pt x="153" y="163"/>
                  </a:moveTo>
                  <a:cubicBezTo>
                    <a:pt x="103" y="163"/>
                    <a:pt x="103" y="163"/>
                    <a:pt x="103" y="163"/>
                  </a:cubicBezTo>
                  <a:cubicBezTo>
                    <a:pt x="103" y="61"/>
                    <a:pt x="103" y="61"/>
                    <a:pt x="103" y="61"/>
                  </a:cubicBezTo>
                  <a:cubicBezTo>
                    <a:pt x="103" y="46"/>
                    <a:pt x="97" y="37"/>
                    <a:pt x="80" y="37"/>
                  </a:cubicBezTo>
                  <a:cubicBezTo>
                    <a:pt x="67" y="37"/>
                    <a:pt x="59" y="43"/>
                    <a:pt x="50" y="51"/>
                  </a:cubicBezTo>
                  <a:cubicBezTo>
                    <a:pt x="50" y="163"/>
                    <a:pt x="50" y="163"/>
                    <a:pt x="50" y="163"/>
                  </a:cubicBezTo>
                  <a:cubicBezTo>
                    <a:pt x="0" y="163"/>
                    <a:pt x="0" y="163"/>
                    <a:pt x="0" y="16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64" y="7"/>
                    <a:pt x="83" y="0"/>
                    <a:pt x="103" y="0"/>
                  </a:cubicBezTo>
                  <a:cubicBezTo>
                    <a:pt x="134" y="0"/>
                    <a:pt x="153" y="20"/>
                    <a:pt x="153" y="49"/>
                  </a:cubicBezTo>
                  <a:lnTo>
                    <a:pt x="153" y="1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kumimoji="0" lang="en-US" sz="2400">
                <a:solidFill>
                  <a:srgbClr val="6D6E71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Freeform 54"/>
            <p:cNvSpPr>
              <a:spLocks/>
            </p:cNvSpPr>
            <p:nvPr/>
          </p:nvSpPr>
          <p:spPr bwMode="gray">
            <a:xfrm>
              <a:off x="4314825" y="2676525"/>
              <a:ext cx="487363" cy="488950"/>
            </a:xfrm>
            <a:custGeom>
              <a:avLst/>
              <a:gdLst>
                <a:gd name="T0" fmla="*/ 130 w 130"/>
                <a:gd name="T1" fmla="*/ 0 h 130"/>
                <a:gd name="T2" fmla="*/ 92 w 130"/>
                <a:gd name="T3" fmla="*/ 106 h 130"/>
                <a:gd name="T4" fmla="*/ 33 w 130"/>
                <a:gd name="T5" fmla="*/ 125 h 130"/>
                <a:gd name="T6" fmla="*/ 5 w 130"/>
                <a:gd name="T7" fmla="*/ 130 h 130"/>
                <a:gd name="T8" fmla="*/ 0 w 130"/>
                <a:gd name="T9" fmla="*/ 94 h 130"/>
                <a:gd name="T10" fmla="*/ 19 w 130"/>
                <a:gd name="T11" fmla="*/ 42 h 130"/>
                <a:gd name="T12" fmla="*/ 130 w 130"/>
                <a:gd name="T13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130">
                  <a:moveTo>
                    <a:pt x="130" y="0"/>
                  </a:moveTo>
                  <a:cubicBezTo>
                    <a:pt x="105" y="43"/>
                    <a:pt x="116" y="81"/>
                    <a:pt x="92" y="106"/>
                  </a:cubicBezTo>
                  <a:cubicBezTo>
                    <a:pt x="72" y="125"/>
                    <a:pt x="54" y="125"/>
                    <a:pt x="33" y="125"/>
                  </a:cubicBezTo>
                  <a:cubicBezTo>
                    <a:pt x="25" y="125"/>
                    <a:pt x="11" y="125"/>
                    <a:pt x="5" y="130"/>
                  </a:cubicBezTo>
                  <a:cubicBezTo>
                    <a:pt x="1" y="118"/>
                    <a:pt x="0" y="106"/>
                    <a:pt x="0" y="94"/>
                  </a:cubicBezTo>
                  <a:cubicBezTo>
                    <a:pt x="0" y="74"/>
                    <a:pt x="4" y="56"/>
                    <a:pt x="19" y="42"/>
                  </a:cubicBezTo>
                  <a:cubicBezTo>
                    <a:pt x="46" y="14"/>
                    <a:pt x="97" y="5"/>
                    <a:pt x="13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kumimoji="0" lang="en-US" sz="2400">
                <a:solidFill>
                  <a:srgbClr val="6D6E71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Freeform 55"/>
            <p:cNvSpPr>
              <a:spLocks/>
            </p:cNvSpPr>
            <p:nvPr/>
          </p:nvSpPr>
          <p:spPr bwMode="gray">
            <a:xfrm>
              <a:off x="3228975" y="3173413"/>
              <a:ext cx="571500" cy="612775"/>
            </a:xfrm>
            <a:custGeom>
              <a:avLst/>
              <a:gdLst>
                <a:gd name="T0" fmla="*/ 152 w 152"/>
                <a:gd name="T1" fmla="*/ 163 h 163"/>
                <a:gd name="T2" fmla="*/ 103 w 152"/>
                <a:gd name="T3" fmla="*/ 163 h 163"/>
                <a:gd name="T4" fmla="*/ 103 w 152"/>
                <a:gd name="T5" fmla="*/ 61 h 163"/>
                <a:gd name="T6" fmla="*/ 79 w 152"/>
                <a:gd name="T7" fmla="*/ 37 h 163"/>
                <a:gd name="T8" fmla="*/ 49 w 152"/>
                <a:gd name="T9" fmla="*/ 51 h 163"/>
                <a:gd name="T10" fmla="*/ 49 w 152"/>
                <a:gd name="T11" fmla="*/ 163 h 163"/>
                <a:gd name="T12" fmla="*/ 0 w 152"/>
                <a:gd name="T13" fmla="*/ 163 h 163"/>
                <a:gd name="T14" fmla="*/ 0 w 152"/>
                <a:gd name="T15" fmla="*/ 4 h 163"/>
                <a:gd name="T16" fmla="*/ 48 w 152"/>
                <a:gd name="T17" fmla="*/ 4 h 163"/>
                <a:gd name="T18" fmla="*/ 48 w 152"/>
                <a:gd name="T19" fmla="*/ 18 h 163"/>
                <a:gd name="T20" fmla="*/ 102 w 152"/>
                <a:gd name="T21" fmla="*/ 0 h 163"/>
                <a:gd name="T22" fmla="*/ 152 w 152"/>
                <a:gd name="T23" fmla="*/ 49 h 163"/>
                <a:gd name="T24" fmla="*/ 152 w 152"/>
                <a:gd name="T2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2" h="163">
                  <a:moveTo>
                    <a:pt x="152" y="163"/>
                  </a:moveTo>
                  <a:cubicBezTo>
                    <a:pt x="103" y="163"/>
                    <a:pt x="103" y="163"/>
                    <a:pt x="103" y="163"/>
                  </a:cubicBezTo>
                  <a:cubicBezTo>
                    <a:pt x="103" y="61"/>
                    <a:pt x="103" y="61"/>
                    <a:pt x="103" y="61"/>
                  </a:cubicBezTo>
                  <a:cubicBezTo>
                    <a:pt x="103" y="46"/>
                    <a:pt x="96" y="37"/>
                    <a:pt x="79" y="37"/>
                  </a:cubicBezTo>
                  <a:cubicBezTo>
                    <a:pt x="67" y="37"/>
                    <a:pt x="58" y="43"/>
                    <a:pt x="49" y="51"/>
                  </a:cubicBezTo>
                  <a:cubicBezTo>
                    <a:pt x="49" y="163"/>
                    <a:pt x="49" y="163"/>
                    <a:pt x="49" y="163"/>
                  </a:cubicBezTo>
                  <a:cubicBezTo>
                    <a:pt x="0" y="163"/>
                    <a:pt x="0" y="163"/>
                    <a:pt x="0" y="16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64" y="7"/>
                    <a:pt x="82" y="0"/>
                    <a:pt x="102" y="0"/>
                  </a:cubicBezTo>
                  <a:cubicBezTo>
                    <a:pt x="134" y="0"/>
                    <a:pt x="152" y="20"/>
                    <a:pt x="152" y="49"/>
                  </a:cubicBezTo>
                  <a:lnTo>
                    <a:pt x="152" y="1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kumimoji="0" lang="en-US" sz="2400">
                <a:solidFill>
                  <a:srgbClr val="6D6E71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Freeform 56"/>
            <p:cNvSpPr>
              <a:spLocks/>
            </p:cNvSpPr>
            <p:nvPr/>
          </p:nvSpPr>
          <p:spPr bwMode="gray">
            <a:xfrm>
              <a:off x="2492375" y="3187700"/>
              <a:ext cx="698500" cy="917575"/>
            </a:xfrm>
            <a:custGeom>
              <a:avLst/>
              <a:gdLst>
                <a:gd name="T0" fmla="*/ 186 w 186"/>
                <a:gd name="T1" fmla="*/ 0 h 244"/>
                <a:gd name="T2" fmla="*/ 106 w 186"/>
                <a:gd name="T3" fmla="*/ 192 h 244"/>
                <a:gd name="T4" fmla="*/ 36 w 186"/>
                <a:gd name="T5" fmla="*/ 244 h 244"/>
                <a:gd name="T6" fmla="*/ 0 w 186"/>
                <a:gd name="T7" fmla="*/ 239 h 244"/>
                <a:gd name="T8" fmla="*/ 7 w 186"/>
                <a:gd name="T9" fmla="*/ 207 h 244"/>
                <a:gd name="T10" fmla="*/ 28 w 186"/>
                <a:gd name="T11" fmla="*/ 210 h 244"/>
                <a:gd name="T12" fmla="*/ 68 w 186"/>
                <a:gd name="T13" fmla="*/ 170 h 244"/>
                <a:gd name="T14" fmla="*/ 73 w 186"/>
                <a:gd name="T15" fmla="*/ 159 h 244"/>
                <a:gd name="T16" fmla="*/ 12 w 186"/>
                <a:gd name="T17" fmla="*/ 0 h 244"/>
                <a:gd name="T18" fmla="*/ 65 w 186"/>
                <a:gd name="T19" fmla="*/ 0 h 244"/>
                <a:gd name="T20" fmla="*/ 94 w 186"/>
                <a:gd name="T21" fmla="*/ 78 h 244"/>
                <a:gd name="T22" fmla="*/ 101 w 186"/>
                <a:gd name="T23" fmla="*/ 105 h 244"/>
                <a:gd name="T24" fmla="*/ 110 w 186"/>
                <a:gd name="T25" fmla="*/ 77 h 244"/>
                <a:gd name="T26" fmla="*/ 139 w 186"/>
                <a:gd name="T27" fmla="*/ 0 h 244"/>
                <a:gd name="T28" fmla="*/ 186 w 186"/>
                <a:gd name="T29" fmla="*/ 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6" h="244">
                  <a:moveTo>
                    <a:pt x="186" y="0"/>
                  </a:moveTo>
                  <a:cubicBezTo>
                    <a:pt x="106" y="192"/>
                    <a:pt x="106" y="192"/>
                    <a:pt x="106" y="192"/>
                  </a:cubicBezTo>
                  <a:cubicBezTo>
                    <a:pt x="94" y="222"/>
                    <a:pt x="70" y="244"/>
                    <a:pt x="36" y="244"/>
                  </a:cubicBezTo>
                  <a:cubicBezTo>
                    <a:pt x="20" y="244"/>
                    <a:pt x="11" y="241"/>
                    <a:pt x="0" y="239"/>
                  </a:cubicBezTo>
                  <a:cubicBezTo>
                    <a:pt x="7" y="207"/>
                    <a:pt x="7" y="207"/>
                    <a:pt x="7" y="207"/>
                  </a:cubicBezTo>
                  <a:cubicBezTo>
                    <a:pt x="16" y="209"/>
                    <a:pt x="22" y="210"/>
                    <a:pt x="28" y="210"/>
                  </a:cubicBezTo>
                  <a:cubicBezTo>
                    <a:pt x="48" y="210"/>
                    <a:pt x="59" y="193"/>
                    <a:pt x="68" y="170"/>
                  </a:cubicBezTo>
                  <a:cubicBezTo>
                    <a:pt x="73" y="159"/>
                    <a:pt x="73" y="159"/>
                    <a:pt x="73" y="159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94" y="78"/>
                    <a:pt x="94" y="78"/>
                    <a:pt x="94" y="78"/>
                  </a:cubicBezTo>
                  <a:cubicBezTo>
                    <a:pt x="97" y="88"/>
                    <a:pt x="99" y="98"/>
                    <a:pt x="101" y="105"/>
                  </a:cubicBezTo>
                  <a:cubicBezTo>
                    <a:pt x="102" y="98"/>
                    <a:pt x="106" y="86"/>
                    <a:pt x="110" y="77"/>
                  </a:cubicBezTo>
                  <a:cubicBezTo>
                    <a:pt x="139" y="0"/>
                    <a:pt x="139" y="0"/>
                    <a:pt x="139" y="0"/>
                  </a:cubicBezTo>
                  <a:lnTo>
                    <a:pt x="18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kumimoji="0" lang="en-US" sz="2400">
                <a:solidFill>
                  <a:srgbClr val="6D6E71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Freeform 57"/>
            <p:cNvSpPr>
              <a:spLocks/>
            </p:cNvSpPr>
            <p:nvPr/>
          </p:nvSpPr>
          <p:spPr bwMode="gray">
            <a:xfrm>
              <a:off x="2024063" y="3162300"/>
              <a:ext cx="509588" cy="631825"/>
            </a:xfrm>
            <a:custGeom>
              <a:avLst/>
              <a:gdLst>
                <a:gd name="T0" fmla="*/ 136 w 136"/>
                <a:gd name="T1" fmla="*/ 115 h 168"/>
                <a:gd name="T2" fmla="*/ 66 w 136"/>
                <a:gd name="T3" fmla="*/ 168 h 168"/>
                <a:gd name="T4" fmla="*/ 0 w 136"/>
                <a:gd name="T5" fmla="*/ 156 h 168"/>
                <a:gd name="T6" fmla="*/ 14 w 136"/>
                <a:gd name="T7" fmla="*/ 124 h 168"/>
                <a:gd name="T8" fmla="*/ 59 w 136"/>
                <a:gd name="T9" fmla="*/ 134 h 168"/>
                <a:gd name="T10" fmla="*/ 86 w 136"/>
                <a:gd name="T11" fmla="*/ 119 h 168"/>
                <a:gd name="T12" fmla="*/ 75 w 136"/>
                <a:gd name="T13" fmla="*/ 107 h 168"/>
                <a:gd name="T14" fmla="*/ 41 w 136"/>
                <a:gd name="T15" fmla="*/ 99 h 168"/>
                <a:gd name="T16" fmla="*/ 4 w 136"/>
                <a:gd name="T17" fmla="*/ 53 h 168"/>
                <a:gd name="T18" fmla="*/ 71 w 136"/>
                <a:gd name="T19" fmla="*/ 0 h 168"/>
                <a:gd name="T20" fmla="*/ 126 w 136"/>
                <a:gd name="T21" fmla="*/ 8 h 168"/>
                <a:gd name="T22" fmla="*/ 114 w 136"/>
                <a:gd name="T23" fmla="*/ 40 h 168"/>
                <a:gd name="T24" fmla="*/ 77 w 136"/>
                <a:gd name="T25" fmla="*/ 33 h 168"/>
                <a:gd name="T26" fmla="*/ 54 w 136"/>
                <a:gd name="T27" fmla="*/ 46 h 168"/>
                <a:gd name="T28" fmla="*/ 64 w 136"/>
                <a:gd name="T29" fmla="*/ 58 h 168"/>
                <a:gd name="T30" fmla="*/ 94 w 136"/>
                <a:gd name="T31" fmla="*/ 65 h 168"/>
                <a:gd name="T32" fmla="*/ 136 w 136"/>
                <a:gd name="T33" fmla="*/ 115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68">
                  <a:moveTo>
                    <a:pt x="136" y="115"/>
                  </a:moveTo>
                  <a:cubicBezTo>
                    <a:pt x="136" y="149"/>
                    <a:pt x="104" y="168"/>
                    <a:pt x="66" y="168"/>
                  </a:cubicBezTo>
                  <a:cubicBezTo>
                    <a:pt x="41" y="168"/>
                    <a:pt x="21" y="164"/>
                    <a:pt x="0" y="156"/>
                  </a:cubicBezTo>
                  <a:cubicBezTo>
                    <a:pt x="14" y="124"/>
                    <a:pt x="14" y="124"/>
                    <a:pt x="14" y="124"/>
                  </a:cubicBezTo>
                  <a:cubicBezTo>
                    <a:pt x="26" y="129"/>
                    <a:pt x="44" y="134"/>
                    <a:pt x="59" y="134"/>
                  </a:cubicBezTo>
                  <a:cubicBezTo>
                    <a:pt x="70" y="134"/>
                    <a:pt x="86" y="133"/>
                    <a:pt x="86" y="119"/>
                  </a:cubicBezTo>
                  <a:cubicBezTo>
                    <a:pt x="86" y="113"/>
                    <a:pt x="82" y="109"/>
                    <a:pt x="75" y="107"/>
                  </a:cubicBezTo>
                  <a:cubicBezTo>
                    <a:pt x="65" y="104"/>
                    <a:pt x="51" y="102"/>
                    <a:pt x="41" y="99"/>
                  </a:cubicBezTo>
                  <a:cubicBezTo>
                    <a:pt x="21" y="93"/>
                    <a:pt x="4" y="83"/>
                    <a:pt x="4" y="53"/>
                  </a:cubicBezTo>
                  <a:cubicBezTo>
                    <a:pt x="4" y="21"/>
                    <a:pt x="32" y="0"/>
                    <a:pt x="71" y="0"/>
                  </a:cubicBezTo>
                  <a:cubicBezTo>
                    <a:pt x="96" y="0"/>
                    <a:pt x="112" y="3"/>
                    <a:pt x="126" y="8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07" y="37"/>
                    <a:pt x="90" y="33"/>
                    <a:pt x="77" y="33"/>
                  </a:cubicBezTo>
                  <a:cubicBezTo>
                    <a:pt x="64" y="33"/>
                    <a:pt x="54" y="38"/>
                    <a:pt x="54" y="46"/>
                  </a:cubicBezTo>
                  <a:cubicBezTo>
                    <a:pt x="54" y="50"/>
                    <a:pt x="57" y="56"/>
                    <a:pt x="64" y="58"/>
                  </a:cubicBezTo>
                  <a:cubicBezTo>
                    <a:pt x="72" y="60"/>
                    <a:pt x="84" y="63"/>
                    <a:pt x="94" y="65"/>
                  </a:cubicBezTo>
                  <a:cubicBezTo>
                    <a:pt x="115" y="70"/>
                    <a:pt x="136" y="82"/>
                    <a:pt x="136" y="1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kumimoji="0" lang="en-US" sz="2400">
                <a:solidFill>
                  <a:srgbClr val="6D6E71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51" name="Freeform 58"/>
            <p:cNvSpPr>
              <a:spLocks noEditPoints="1"/>
            </p:cNvSpPr>
            <p:nvPr/>
          </p:nvSpPr>
          <p:spPr bwMode="gray">
            <a:xfrm>
              <a:off x="6289675" y="3173413"/>
              <a:ext cx="530225" cy="623888"/>
            </a:xfrm>
            <a:custGeom>
              <a:avLst/>
              <a:gdLst>
                <a:gd name="T0" fmla="*/ 141 w 141"/>
                <a:gd name="T1" fmla="*/ 163 h 166"/>
                <a:gd name="T2" fmla="*/ 95 w 141"/>
                <a:gd name="T3" fmla="*/ 163 h 166"/>
                <a:gd name="T4" fmla="*/ 95 w 141"/>
                <a:gd name="T5" fmla="*/ 150 h 166"/>
                <a:gd name="T6" fmla="*/ 49 w 141"/>
                <a:gd name="T7" fmla="*/ 166 h 166"/>
                <a:gd name="T8" fmla="*/ 0 w 141"/>
                <a:gd name="T9" fmla="*/ 122 h 166"/>
                <a:gd name="T10" fmla="*/ 93 w 141"/>
                <a:gd name="T11" fmla="*/ 61 h 166"/>
                <a:gd name="T12" fmla="*/ 93 w 141"/>
                <a:gd name="T13" fmla="*/ 56 h 166"/>
                <a:gd name="T14" fmla="*/ 65 w 141"/>
                <a:gd name="T15" fmla="*/ 34 h 166"/>
                <a:gd name="T16" fmla="*/ 19 w 141"/>
                <a:gd name="T17" fmla="*/ 49 h 166"/>
                <a:gd name="T18" fmla="*/ 7 w 141"/>
                <a:gd name="T19" fmla="*/ 20 h 166"/>
                <a:gd name="T20" fmla="*/ 79 w 141"/>
                <a:gd name="T21" fmla="*/ 0 h 166"/>
                <a:gd name="T22" fmla="*/ 141 w 141"/>
                <a:gd name="T23" fmla="*/ 50 h 166"/>
                <a:gd name="T24" fmla="*/ 141 w 141"/>
                <a:gd name="T25" fmla="*/ 163 h 166"/>
                <a:gd name="T26" fmla="*/ 93 w 141"/>
                <a:gd name="T27" fmla="*/ 120 h 166"/>
                <a:gd name="T28" fmla="*/ 93 w 141"/>
                <a:gd name="T29" fmla="*/ 91 h 166"/>
                <a:gd name="T30" fmla="*/ 49 w 141"/>
                <a:gd name="T31" fmla="*/ 115 h 166"/>
                <a:gd name="T32" fmla="*/ 69 w 141"/>
                <a:gd name="T33" fmla="*/ 132 h 166"/>
                <a:gd name="T34" fmla="*/ 93 w 141"/>
                <a:gd name="T35" fmla="*/ 12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1" h="166">
                  <a:moveTo>
                    <a:pt x="141" y="163"/>
                  </a:moveTo>
                  <a:cubicBezTo>
                    <a:pt x="95" y="163"/>
                    <a:pt x="95" y="163"/>
                    <a:pt x="95" y="163"/>
                  </a:cubicBezTo>
                  <a:cubicBezTo>
                    <a:pt x="95" y="150"/>
                    <a:pt x="95" y="150"/>
                    <a:pt x="95" y="150"/>
                  </a:cubicBezTo>
                  <a:cubicBezTo>
                    <a:pt x="83" y="161"/>
                    <a:pt x="67" y="166"/>
                    <a:pt x="49" y="166"/>
                  </a:cubicBezTo>
                  <a:cubicBezTo>
                    <a:pt x="20" y="166"/>
                    <a:pt x="0" y="152"/>
                    <a:pt x="0" y="122"/>
                  </a:cubicBezTo>
                  <a:cubicBezTo>
                    <a:pt x="0" y="69"/>
                    <a:pt x="52" y="61"/>
                    <a:pt x="93" y="61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3" y="43"/>
                    <a:pt x="88" y="34"/>
                    <a:pt x="65" y="34"/>
                  </a:cubicBezTo>
                  <a:cubicBezTo>
                    <a:pt x="49" y="34"/>
                    <a:pt x="31" y="42"/>
                    <a:pt x="19" y="49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28" y="8"/>
                    <a:pt x="54" y="0"/>
                    <a:pt x="79" y="0"/>
                  </a:cubicBezTo>
                  <a:cubicBezTo>
                    <a:pt x="117" y="0"/>
                    <a:pt x="141" y="18"/>
                    <a:pt x="141" y="50"/>
                  </a:cubicBezTo>
                  <a:lnTo>
                    <a:pt x="141" y="163"/>
                  </a:lnTo>
                  <a:close/>
                  <a:moveTo>
                    <a:pt x="93" y="120"/>
                  </a:moveTo>
                  <a:cubicBezTo>
                    <a:pt x="93" y="91"/>
                    <a:pt x="93" y="91"/>
                    <a:pt x="93" y="91"/>
                  </a:cubicBezTo>
                  <a:cubicBezTo>
                    <a:pt x="70" y="90"/>
                    <a:pt x="49" y="93"/>
                    <a:pt x="49" y="115"/>
                  </a:cubicBezTo>
                  <a:cubicBezTo>
                    <a:pt x="49" y="128"/>
                    <a:pt x="60" y="132"/>
                    <a:pt x="69" y="132"/>
                  </a:cubicBezTo>
                  <a:cubicBezTo>
                    <a:pt x="79" y="132"/>
                    <a:pt x="87" y="127"/>
                    <a:pt x="93" y="1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kumimoji="0" lang="en-US" sz="2400">
                <a:solidFill>
                  <a:srgbClr val="6D6E71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Freeform 59"/>
            <p:cNvSpPr>
              <a:spLocks noEditPoints="1"/>
            </p:cNvSpPr>
            <p:nvPr/>
          </p:nvSpPr>
          <p:spPr bwMode="gray">
            <a:xfrm>
              <a:off x="4502150" y="3173413"/>
              <a:ext cx="596900" cy="623888"/>
            </a:xfrm>
            <a:custGeom>
              <a:avLst/>
              <a:gdLst>
                <a:gd name="T0" fmla="*/ 159 w 159"/>
                <a:gd name="T1" fmla="*/ 77 h 166"/>
                <a:gd name="T2" fmla="*/ 158 w 159"/>
                <a:gd name="T3" fmla="*/ 94 h 166"/>
                <a:gd name="T4" fmla="*/ 53 w 159"/>
                <a:gd name="T5" fmla="*/ 94 h 166"/>
                <a:gd name="T6" fmla="*/ 98 w 159"/>
                <a:gd name="T7" fmla="*/ 130 h 166"/>
                <a:gd name="T8" fmla="*/ 139 w 159"/>
                <a:gd name="T9" fmla="*/ 118 h 166"/>
                <a:gd name="T10" fmla="*/ 152 w 159"/>
                <a:gd name="T11" fmla="*/ 148 h 166"/>
                <a:gd name="T12" fmla="*/ 81 w 159"/>
                <a:gd name="T13" fmla="*/ 166 h 166"/>
                <a:gd name="T14" fmla="*/ 0 w 159"/>
                <a:gd name="T15" fmla="*/ 83 h 166"/>
                <a:gd name="T16" fmla="*/ 84 w 159"/>
                <a:gd name="T17" fmla="*/ 0 h 166"/>
                <a:gd name="T18" fmla="*/ 159 w 159"/>
                <a:gd name="T19" fmla="*/ 77 h 166"/>
                <a:gd name="T20" fmla="*/ 108 w 159"/>
                <a:gd name="T21" fmla="*/ 62 h 166"/>
                <a:gd name="T22" fmla="*/ 83 w 159"/>
                <a:gd name="T23" fmla="*/ 34 h 166"/>
                <a:gd name="T24" fmla="*/ 53 w 159"/>
                <a:gd name="T25" fmla="*/ 62 h 166"/>
                <a:gd name="T26" fmla="*/ 108 w 159"/>
                <a:gd name="T27" fmla="*/ 62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9" h="166">
                  <a:moveTo>
                    <a:pt x="159" y="77"/>
                  </a:moveTo>
                  <a:cubicBezTo>
                    <a:pt x="159" y="83"/>
                    <a:pt x="158" y="88"/>
                    <a:pt x="158" y="94"/>
                  </a:cubicBezTo>
                  <a:cubicBezTo>
                    <a:pt x="53" y="94"/>
                    <a:pt x="53" y="94"/>
                    <a:pt x="53" y="94"/>
                  </a:cubicBezTo>
                  <a:cubicBezTo>
                    <a:pt x="53" y="117"/>
                    <a:pt x="65" y="130"/>
                    <a:pt x="98" y="130"/>
                  </a:cubicBezTo>
                  <a:cubicBezTo>
                    <a:pt x="113" y="130"/>
                    <a:pt x="131" y="124"/>
                    <a:pt x="139" y="118"/>
                  </a:cubicBezTo>
                  <a:cubicBezTo>
                    <a:pt x="152" y="148"/>
                    <a:pt x="152" y="148"/>
                    <a:pt x="152" y="148"/>
                  </a:cubicBezTo>
                  <a:cubicBezTo>
                    <a:pt x="130" y="160"/>
                    <a:pt x="107" y="166"/>
                    <a:pt x="81" y="166"/>
                  </a:cubicBezTo>
                  <a:cubicBezTo>
                    <a:pt x="31" y="166"/>
                    <a:pt x="0" y="134"/>
                    <a:pt x="0" y="83"/>
                  </a:cubicBezTo>
                  <a:cubicBezTo>
                    <a:pt x="0" y="32"/>
                    <a:pt x="41" y="0"/>
                    <a:pt x="84" y="0"/>
                  </a:cubicBezTo>
                  <a:cubicBezTo>
                    <a:pt x="139" y="0"/>
                    <a:pt x="159" y="32"/>
                    <a:pt x="159" y="77"/>
                  </a:cubicBezTo>
                  <a:close/>
                  <a:moveTo>
                    <a:pt x="108" y="62"/>
                  </a:moveTo>
                  <a:cubicBezTo>
                    <a:pt x="109" y="44"/>
                    <a:pt x="100" y="34"/>
                    <a:pt x="83" y="34"/>
                  </a:cubicBezTo>
                  <a:cubicBezTo>
                    <a:pt x="66" y="34"/>
                    <a:pt x="56" y="46"/>
                    <a:pt x="53" y="62"/>
                  </a:cubicBezTo>
                  <a:lnTo>
                    <a:pt x="108" y="6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kumimoji="0" lang="en-US" sz="2400">
                <a:solidFill>
                  <a:srgbClr val="6D6E71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Freeform 60"/>
            <p:cNvSpPr>
              <a:spLocks noEditPoints="1"/>
            </p:cNvSpPr>
            <p:nvPr/>
          </p:nvSpPr>
          <p:spPr bwMode="gray">
            <a:xfrm>
              <a:off x="3863975" y="3170238"/>
              <a:ext cx="642938" cy="946150"/>
            </a:xfrm>
            <a:custGeom>
              <a:avLst/>
              <a:gdLst>
                <a:gd name="T0" fmla="*/ 171 w 171"/>
                <a:gd name="T1" fmla="*/ 183 h 252"/>
                <a:gd name="T2" fmla="*/ 79 w 171"/>
                <a:gd name="T3" fmla="*/ 251 h 252"/>
                <a:gd name="T4" fmla="*/ 0 w 171"/>
                <a:gd name="T5" fmla="*/ 201 h 252"/>
                <a:gd name="T6" fmla="*/ 26 w 171"/>
                <a:gd name="T7" fmla="*/ 165 h 252"/>
                <a:gd name="T8" fmla="*/ 11 w 171"/>
                <a:gd name="T9" fmla="*/ 155 h 252"/>
                <a:gd name="T10" fmla="*/ 3 w 171"/>
                <a:gd name="T11" fmla="*/ 130 h 252"/>
                <a:gd name="T12" fmla="*/ 33 w 171"/>
                <a:gd name="T13" fmla="*/ 91 h 252"/>
                <a:gd name="T14" fmla="*/ 12 w 171"/>
                <a:gd name="T15" fmla="*/ 52 h 252"/>
                <a:gd name="T16" fmla="*/ 86 w 171"/>
                <a:gd name="T17" fmla="*/ 0 h 252"/>
                <a:gd name="T18" fmla="*/ 156 w 171"/>
                <a:gd name="T19" fmla="*/ 51 h 252"/>
                <a:gd name="T20" fmla="*/ 81 w 171"/>
                <a:gd name="T21" fmla="*/ 105 h 252"/>
                <a:gd name="T22" fmla="*/ 61 w 171"/>
                <a:gd name="T23" fmla="*/ 103 h 252"/>
                <a:gd name="T24" fmla="*/ 49 w 171"/>
                <a:gd name="T25" fmla="*/ 117 h 252"/>
                <a:gd name="T26" fmla="*/ 73 w 171"/>
                <a:gd name="T27" fmla="*/ 131 h 252"/>
                <a:gd name="T28" fmla="*/ 112 w 171"/>
                <a:gd name="T29" fmla="*/ 131 h 252"/>
                <a:gd name="T30" fmla="*/ 171 w 171"/>
                <a:gd name="T31" fmla="*/ 183 h 252"/>
                <a:gd name="T32" fmla="*/ 108 w 171"/>
                <a:gd name="T33" fmla="*/ 53 h 252"/>
                <a:gd name="T34" fmla="*/ 84 w 171"/>
                <a:gd name="T35" fmla="*/ 29 h 252"/>
                <a:gd name="T36" fmla="*/ 60 w 171"/>
                <a:gd name="T37" fmla="*/ 53 h 252"/>
                <a:gd name="T38" fmla="*/ 83 w 171"/>
                <a:gd name="T39" fmla="*/ 77 h 252"/>
                <a:gd name="T40" fmla="*/ 108 w 171"/>
                <a:gd name="T41" fmla="*/ 53 h 252"/>
                <a:gd name="T42" fmla="*/ 121 w 171"/>
                <a:gd name="T43" fmla="*/ 190 h 252"/>
                <a:gd name="T44" fmla="*/ 100 w 171"/>
                <a:gd name="T45" fmla="*/ 172 h 252"/>
                <a:gd name="T46" fmla="*/ 57 w 171"/>
                <a:gd name="T47" fmla="*/ 172 h 252"/>
                <a:gd name="T48" fmla="*/ 40 w 171"/>
                <a:gd name="T49" fmla="*/ 195 h 252"/>
                <a:gd name="T50" fmla="*/ 81 w 171"/>
                <a:gd name="T51" fmla="*/ 218 h 252"/>
                <a:gd name="T52" fmla="*/ 121 w 171"/>
                <a:gd name="T53" fmla="*/ 190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1" h="252">
                  <a:moveTo>
                    <a:pt x="171" y="183"/>
                  </a:moveTo>
                  <a:cubicBezTo>
                    <a:pt x="171" y="230"/>
                    <a:pt x="124" y="251"/>
                    <a:pt x="79" y="251"/>
                  </a:cubicBezTo>
                  <a:cubicBezTo>
                    <a:pt x="39" y="252"/>
                    <a:pt x="0" y="240"/>
                    <a:pt x="0" y="201"/>
                  </a:cubicBezTo>
                  <a:cubicBezTo>
                    <a:pt x="0" y="183"/>
                    <a:pt x="16" y="171"/>
                    <a:pt x="26" y="165"/>
                  </a:cubicBezTo>
                  <a:cubicBezTo>
                    <a:pt x="20" y="162"/>
                    <a:pt x="15" y="160"/>
                    <a:pt x="11" y="155"/>
                  </a:cubicBezTo>
                  <a:cubicBezTo>
                    <a:pt x="7" y="150"/>
                    <a:pt x="3" y="142"/>
                    <a:pt x="3" y="130"/>
                  </a:cubicBezTo>
                  <a:cubicBezTo>
                    <a:pt x="3" y="115"/>
                    <a:pt x="17" y="100"/>
                    <a:pt x="33" y="91"/>
                  </a:cubicBezTo>
                  <a:cubicBezTo>
                    <a:pt x="24" y="86"/>
                    <a:pt x="12" y="78"/>
                    <a:pt x="12" y="52"/>
                  </a:cubicBezTo>
                  <a:cubicBezTo>
                    <a:pt x="12" y="18"/>
                    <a:pt x="44" y="0"/>
                    <a:pt x="86" y="0"/>
                  </a:cubicBezTo>
                  <a:cubicBezTo>
                    <a:pt x="122" y="0"/>
                    <a:pt x="156" y="9"/>
                    <a:pt x="156" y="51"/>
                  </a:cubicBezTo>
                  <a:cubicBezTo>
                    <a:pt x="156" y="91"/>
                    <a:pt x="119" y="105"/>
                    <a:pt x="81" y="105"/>
                  </a:cubicBezTo>
                  <a:cubicBezTo>
                    <a:pt x="73" y="105"/>
                    <a:pt x="67" y="104"/>
                    <a:pt x="61" y="103"/>
                  </a:cubicBezTo>
                  <a:cubicBezTo>
                    <a:pt x="57" y="105"/>
                    <a:pt x="49" y="111"/>
                    <a:pt x="49" y="117"/>
                  </a:cubicBezTo>
                  <a:cubicBezTo>
                    <a:pt x="49" y="129"/>
                    <a:pt x="66" y="131"/>
                    <a:pt x="73" y="131"/>
                  </a:cubicBezTo>
                  <a:cubicBezTo>
                    <a:pt x="112" y="131"/>
                    <a:pt x="112" y="131"/>
                    <a:pt x="112" y="131"/>
                  </a:cubicBezTo>
                  <a:cubicBezTo>
                    <a:pt x="149" y="131"/>
                    <a:pt x="171" y="148"/>
                    <a:pt x="171" y="183"/>
                  </a:cubicBezTo>
                  <a:close/>
                  <a:moveTo>
                    <a:pt x="108" y="53"/>
                  </a:moveTo>
                  <a:cubicBezTo>
                    <a:pt x="108" y="40"/>
                    <a:pt x="101" y="29"/>
                    <a:pt x="84" y="29"/>
                  </a:cubicBezTo>
                  <a:cubicBezTo>
                    <a:pt x="69" y="29"/>
                    <a:pt x="60" y="42"/>
                    <a:pt x="60" y="53"/>
                  </a:cubicBezTo>
                  <a:cubicBezTo>
                    <a:pt x="60" y="67"/>
                    <a:pt x="68" y="77"/>
                    <a:pt x="83" y="77"/>
                  </a:cubicBezTo>
                  <a:cubicBezTo>
                    <a:pt x="100" y="77"/>
                    <a:pt x="108" y="66"/>
                    <a:pt x="108" y="53"/>
                  </a:cubicBezTo>
                  <a:close/>
                  <a:moveTo>
                    <a:pt x="121" y="190"/>
                  </a:moveTo>
                  <a:cubicBezTo>
                    <a:pt x="121" y="177"/>
                    <a:pt x="111" y="172"/>
                    <a:pt x="100" y="172"/>
                  </a:cubicBezTo>
                  <a:cubicBezTo>
                    <a:pt x="57" y="172"/>
                    <a:pt x="57" y="172"/>
                    <a:pt x="57" y="172"/>
                  </a:cubicBezTo>
                  <a:cubicBezTo>
                    <a:pt x="50" y="176"/>
                    <a:pt x="40" y="184"/>
                    <a:pt x="40" y="195"/>
                  </a:cubicBezTo>
                  <a:cubicBezTo>
                    <a:pt x="40" y="209"/>
                    <a:pt x="59" y="218"/>
                    <a:pt x="81" y="218"/>
                  </a:cubicBezTo>
                  <a:cubicBezTo>
                    <a:pt x="104" y="218"/>
                    <a:pt x="121" y="208"/>
                    <a:pt x="121" y="19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kumimoji="0" lang="en-US" sz="2400">
                <a:solidFill>
                  <a:srgbClr val="6D6E71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54" name="Freeform 61"/>
            <p:cNvSpPr>
              <a:spLocks noEditPoints="1"/>
            </p:cNvSpPr>
            <p:nvPr/>
          </p:nvSpPr>
          <p:spPr bwMode="gray">
            <a:xfrm>
              <a:off x="6929438" y="3563938"/>
              <a:ext cx="206375" cy="203200"/>
            </a:xfrm>
            <a:custGeom>
              <a:avLst/>
              <a:gdLst>
                <a:gd name="T0" fmla="*/ 27 w 55"/>
                <a:gd name="T1" fmla="*/ 0 h 54"/>
                <a:gd name="T2" fmla="*/ 55 w 55"/>
                <a:gd name="T3" fmla="*/ 27 h 54"/>
                <a:gd name="T4" fmla="*/ 27 w 55"/>
                <a:gd name="T5" fmla="*/ 54 h 54"/>
                <a:gd name="T6" fmla="*/ 0 w 55"/>
                <a:gd name="T7" fmla="*/ 27 h 54"/>
                <a:gd name="T8" fmla="*/ 27 w 55"/>
                <a:gd name="T9" fmla="*/ 0 h 54"/>
                <a:gd name="T10" fmla="*/ 27 w 55"/>
                <a:gd name="T11" fmla="*/ 49 h 54"/>
                <a:gd name="T12" fmla="*/ 48 w 55"/>
                <a:gd name="T13" fmla="*/ 27 h 54"/>
                <a:gd name="T14" fmla="*/ 27 w 55"/>
                <a:gd name="T15" fmla="*/ 6 h 54"/>
                <a:gd name="T16" fmla="*/ 7 w 55"/>
                <a:gd name="T17" fmla="*/ 27 h 54"/>
                <a:gd name="T18" fmla="*/ 27 w 55"/>
                <a:gd name="T19" fmla="*/ 49 h 54"/>
                <a:gd name="T20" fmla="*/ 17 w 55"/>
                <a:gd name="T21" fmla="*/ 12 h 54"/>
                <a:gd name="T22" fmla="*/ 28 w 55"/>
                <a:gd name="T23" fmla="*/ 12 h 54"/>
                <a:gd name="T24" fmla="*/ 40 w 55"/>
                <a:gd name="T25" fmla="*/ 21 h 54"/>
                <a:gd name="T26" fmla="*/ 32 w 55"/>
                <a:gd name="T27" fmla="*/ 29 h 54"/>
                <a:gd name="T28" fmla="*/ 40 w 55"/>
                <a:gd name="T29" fmla="*/ 42 h 54"/>
                <a:gd name="T30" fmla="*/ 34 w 55"/>
                <a:gd name="T31" fmla="*/ 42 h 54"/>
                <a:gd name="T32" fmla="*/ 26 w 55"/>
                <a:gd name="T33" fmla="*/ 29 h 54"/>
                <a:gd name="T34" fmla="*/ 23 w 55"/>
                <a:gd name="T35" fmla="*/ 29 h 54"/>
                <a:gd name="T36" fmla="*/ 23 w 55"/>
                <a:gd name="T37" fmla="*/ 42 h 54"/>
                <a:gd name="T38" fmla="*/ 17 w 55"/>
                <a:gd name="T39" fmla="*/ 42 h 54"/>
                <a:gd name="T40" fmla="*/ 17 w 55"/>
                <a:gd name="T41" fmla="*/ 12 h 54"/>
                <a:gd name="T42" fmla="*/ 23 w 55"/>
                <a:gd name="T43" fmla="*/ 25 h 54"/>
                <a:gd name="T44" fmla="*/ 28 w 55"/>
                <a:gd name="T45" fmla="*/ 25 h 54"/>
                <a:gd name="T46" fmla="*/ 34 w 55"/>
                <a:gd name="T47" fmla="*/ 20 h 54"/>
                <a:gd name="T48" fmla="*/ 28 w 55"/>
                <a:gd name="T49" fmla="*/ 17 h 54"/>
                <a:gd name="T50" fmla="*/ 23 w 55"/>
                <a:gd name="T51" fmla="*/ 17 h 54"/>
                <a:gd name="T52" fmla="*/ 23 w 55"/>
                <a:gd name="T53" fmla="*/ 2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4">
                  <a:moveTo>
                    <a:pt x="27" y="0"/>
                  </a:moveTo>
                  <a:cubicBezTo>
                    <a:pt x="42" y="0"/>
                    <a:pt x="55" y="11"/>
                    <a:pt x="55" y="27"/>
                  </a:cubicBezTo>
                  <a:cubicBezTo>
                    <a:pt x="55" y="44"/>
                    <a:pt x="42" y="54"/>
                    <a:pt x="27" y="54"/>
                  </a:cubicBezTo>
                  <a:cubicBezTo>
                    <a:pt x="13" y="54"/>
                    <a:pt x="0" y="44"/>
                    <a:pt x="0" y="27"/>
                  </a:cubicBezTo>
                  <a:cubicBezTo>
                    <a:pt x="0" y="11"/>
                    <a:pt x="13" y="0"/>
                    <a:pt x="27" y="0"/>
                  </a:cubicBezTo>
                  <a:close/>
                  <a:moveTo>
                    <a:pt x="27" y="49"/>
                  </a:moveTo>
                  <a:cubicBezTo>
                    <a:pt x="39" y="49"/>
                    <a:pt x="48" y="40"/>
                    <a:pt x="48" y="27"/>
                  </a:cubicBezTo>
                  <a:cubicBezTo>
                    <a:pt x="48" y="15"/>
                    <a:pt x="39" y="6"/>
                    <a:pt x="27" y="6"/>
                  </a:cubicBezTo>
                  <a:cubicBezTo>
                    <a:pt x="16" y="6"/>
                    <a:pt x="7" y="15"/>
                    <a:pt x="7" y="27"/>
                  </a:cubicBezTo>
                  <a:cubicBezTo>
                    <a:pt x="7" y="40"/>
                    <a:pt x="16" y="49"/>
                    <a:pt x="27" y="49"/>
                  </a:cubicBezTo>
                  <a:close/>
                  <a:moveTo>
                    <a:pt x="17" y="12"/>
                  </a:moveTo>
                  <a:cubicBezTo>
                    <a:pt x="28" y="12"/>
                    <a:pt x="28" y="12"/>
                    <a:pt x="28" y="12"/>
                  </a:cubicBezTo>
                  <a:cubicBezTo>
                    <a:pt x="36" y="12"/>
                    <a:pt x="40" y="14"/>
                    <a:pt x="40" y="21"/>
                  </a:cubicBezTo>
                  <a:cubicBezTo>
                    <a:pt x="40" y="27"/>
                    <a:pt x="36" y="29"/>
                    <a:pt x="32" y="29"/>
                  </a:cubicBezTo>
                  <a:cubicBezTo>
                    <a:pt x="40" y="42"/>
                    <a:pt x="40" y="42"/>
                    <a:pt x="40" y="42"/>
                  </a:cubicBezTo>
                  <a:cubicBezTo>
                    <a:pt x="34" y="42"/>
                    <a:pt x="34" y="42"/>
                    <a:pt x="34" y="42"/>
                  </a:cubicBezTo>
                  <a:cubicBezTo>
                    <a:pt x="26" y="29"/>
                    <a:pt x="26" y="29"/>
                    <a:pt x="26" y="29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17" y="42"/>
                    <a:pt x="17" y="42"/>
                    <a:pt x="17" y="42"/>
                  </a:cubicBezTo>
                  <a:lnTo>
                    <a:pt x="17" y="12"/>
                  </a:lnTo>
                  <a:close/>
                  <a:moveTo>
                    <a:pt x="23" y="25"/>
                  </a:moveTo>
                  <a:cubicBezTo>
                    <a:pt x="28" y="25"/>
                    <a:pt x="28" y="25"/>
                    <a:pt x="28" y="25"/>
                  </a:cubicBezTo>
                  <a:cubicBezTo>
                    <a:pt x="31" y="25"/>
                    <a:pt x="34" y="24"/>
                    <a:pt x="34" y="20"/>
                  </a:cubicBezTo>
                  <a:cubicBezTo>
                    <a:pt x="34" y="17"/>
                    <a:pt x="30" y="17"/>
                    <a:pt x="28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2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kumimoji="0" lang="en-US" sz="2400">
                <a:solidFill>
                  <a:srgbClr val="6D6E71"/>
                </a:solidFill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68" name="Title 67"/>
          <p:cNvSpPr>
            <a:spLocks noGrp="1"/>
          </p:cNvSpPr>
          <p:nvPr>
            <p:ph type="title"/>
          </p:nvPr>
        </p:nvSpPr>
        <p:spPr>
          <a:xfrm>
            <a:off x="156977" y="2738896"/>
            <a:ext cx="10538883" cy="1482179"/>
          </a:xfrm>
        </p:spPr>
        <p:txBody>
          <a:bodyPr anchor="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9" name="TextBox 68"/>
          <p:cNvSpPr txBox="1"/>
          <p:nvPr userDrawn="1"/>
        </p:nvSpPr>
        <p:spPr>
          <a:xfrm>
            <a:off x="13893800" y="2870385"/>
            <a:ext cx="1219200" cy="1219200"/>
          </a:xfrm>
          <a:prstGeom prst="rect">
            <a:avLst/>
          </a:prstGeom>
          <a:noFill/>
        </p:spPr>
        <p:txBody>
          <a:bodyPr wrap="none" rtlCol="0">
            <a:normAutofit/>
          </a:bodyPr>
          <a:lstStyle/>
          <a:p>
            <a:pPr>
              <a:spcBef>
                <a:spcPts val="0"/>
              </a:spcBef>
              <a:spcAft>
                <a:spcPts val="800"/>
              </a:spcAft>
            </a:pPr>
            <a:endParaRPr lang="en-US" sz="2667" err="1"/>
          </a:p>
        </p:txBody>
      </p:sp>
      <p:sp>
        <p:nvSpPr>
          <p:cNvPr id="70" name="Subtitle 2"/>
          <p:cNvSpPr>
            <a:spLocks noGrp="1"/>
          </p:cNvSpPr>
          <p:nvPr>
            <p:ph type="subTitle" idx="1"/>
          </p:nvPr>
        </p:nvSpPr>
        <p:spPr bwMode="gray">
          <a:xfrm>
            <a:off x="156978" y="4333148"/>
            <a:ext cx="8801101" cy="615553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None/>
              <a:defRPr sz="2133" b="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55419190"/>
      </p:ext>
    </p:extLst>
  </p:cSld>
  <p:clrMapOvr>
    <a:masterClrMapping/>
  </p:clrMapOvr>
  <p:transition>
    <p:wipe dir="r"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4610F65C-60D7-4538-BE39-7D73717C8F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69"/>
            <a:ext cx="12192000" cy="6854861"/>
          </a:xfrm>
          <a:prstGeom prst="rect">
            <a:avLst/>
          </a:prstGeom>
        </p:spPr>
      </p:pic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9D584174-5E54-45C1-AB01-B24DBFD5D11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GB"/>
              <a:t>Classification: INTERNAL USE ONLY</a:t>
            </a:r>
            <a:endParaRPr lang="en-GB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FE348B55-8DAA-425B-BC9F-AB12EC9ED54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95D00A-BA34-4D39-8C84-2534822D6434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0BC805C-1621-419F-855F-D8DD293F708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04616" y="5923202"/>
            <a:ext cx="1521190" cy="428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38136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354DE4A-5F2A-D0D8-E2DF-0A73D0624DB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04800" y="5436099"/>
            <a:ext cx="2121368" cy="408002"/>
          </a:xfrm>
        </p:spPr>
        <p:txBody>
          <a:bodyPr anchor="t"/>
          <a:lstStyle>
            <a:lvl1pPr algn="l">
              <a:defRPr sz="1000"/>
            </a:lvl1pPr>
          </a:lstStyle>
          <a:p>
            <a:r>
              <a:rPr lang="en-GB" dirty="0"/>
              <a:t>Classification: INTERNAL USE ONLY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1DD639D-AA60-72ED-490C-5D582B75E4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318510"/>
            <a:ext cx="5676900" cy="777240"/>
          </a:xfrm>
        </p:spPr>
        <p:txBody>
          <a:bodyPr anchor="b"/>
          <a:lstStyle>
            <a:lvl1pPr>
              <a:defRPr sz="44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6" name="Picture Placeholder 12">
            <a:extLst>
              <a:ext uri="{FF2B5EF4-FFF2-40B4-BE49-F238E27FC236}">
                <a16:creationId xmlns:a16="http://schemas.microsoft.com/office/drawing/2014/main" id="{B107D36B-B67B-67EC-432E-7F6835DBA07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41901" y="798787"/>
            <a:ext cx="5330999" cy="5276193"/>
          </a:xfrm>
          <a:custGeom>
            <a:avLst/>
            <a:gdLst>
              <a:gd name="connsiteX0" fmla="*/ 4529963 w 5330999"/>
              <a:gd name="connsiteY0" fmla="*/ 550532 h 5276193"/>
              <a:gd name="connsiteX1" fmla="*/ 1050420 w 5330999"/>
              <a:gd name="connsiteY1" fmla="*/ 1915694 h 5276193"/>
              <a:gd name="connsiteX2" fmla="*/ 429946 w 5330999"/>
              <a:gd name="connsiteY2" fmla="*/ 3653385 h 5276193"/>
              <a:gd name="connsiteX3" fmla="*/ 537044 w 5330999"/>
              <a:gd name="connsiteY3" fmla="*/ 4621975 h 5276193"/>
              <a:gd name="connsiteX4" fmla="*/ 1401680 w 5330999"/>
              <a:gd name="connsiteY4" fmla="*/ 4524044 h 5276193"/>
              <a:gd name="connsiteX5" fmla="*/ 1471570 w 5330999"/>
              <a:gd name="connsiteY5" fmla="*/ 4524044 h 5276193"/>
              <a:gd name="connsiteX6" fmla="*/ 3379161 w 5330999"/>
              <a:gd name="connsiteY6" fmla="*/ 3903462 h 5276193"/>
              <a:gd name="connsiteX7" fmla="*/ 4021439 w 5330999"/>
              <a:gd name="connsiteY7" fmla="*/ 2289290 h 5276193"/>
              <a:gd name="connsiteX8" fmla="*/ 4529963 w 5330999"/>
              <a:gd name="connsiteY8" fmla="*/ 550532 h 5276193"/>
              <a:gd name="connsiteX9" fmla="*/ 5330999 w 5330999"/>
              <a:gd name="connsiteY9" fmla="*/ 0 h 5276193"/>
              <a:gd name="connsiteX10" fmla="*/ 5103792 w 5330999"/>
              <a:gd name="connsiteY10" fmla="*/ 385005 h 5276193"/>
              <a:gd name="connsiteX11" fmla="*/ 4443708 w 5330999"/>
              <a:gd name="connsiteY11" fmla="*/ 2370321 h 5276193"/>
              <a:gd name="connsiteX12" fmla="*/ 3683241 w 5330999"/>
              <a:gd name="connsiteY12" fmla="*/ 4207436 h 5276193"/>
              <a:gd name="connsiteX13" fmla="*/ 1471143 w 5330999"/>
              <a:gd name="connsiteY13" fmla="*/ 4953935 h 5276193"/>
              <a:gd name="connsiteX14" fmla="*/ 1401680 w 5330999"/>
              <a:gd name="connsiteY14" fmla="*/ 4953935 h 5276193"/>
              <a:gd name="connsiteX15" fmla="*/ 539284 w 5330999"/>
              <a:gd name="connsiteY15" fmla="*/ 5082306 h 5276193"/>
              <a:gd name="connsiteX16" fmla="*/ 325245 w 5330999"/>
              <a:gd name="connsiteY16" fmla="*/ 5236692 h 5276193"/>
              <a:gd name="connsiteX17" fmla="*/ 282810 w 5330999"/>
              <a:gd name="connsiteY17" fmla="*/ 5276193 h 5276193"/>
              <a:gd name="connsiteX18" fmla="*/ 190904 w 5330999"/>
              <a:gd name="connsiteY18" fmla="*/ 4984642 h 5276193"/>
              <a:gd name="connsiteX19" fmla="*/ 0 w 5330999"/>
              <a:gd name="connsiteY19" fmla="*/ 3653385 h 5276193"/>
              <a:gd name="connsiteX20" fmla="*/ 746553 w 5330999"/>
              <a:gd name="connsiteY20" fmla="*/ 1611507 h 5276193"/>
              <a:gd name="connsiteX21" fmla="*/ 4888314 w 5330999"/>
              <a:gd name="connsiteY21" fmla="*/ 62959 h 5276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5330999" h="5276193">
                <a:moveTo>
                  <a:pt x="4529963" y="550532"/>
                </a:moveTo>
                <a:cubicBezTo>
                  <a:pt x="2841369" y="816442"/>
                  <a:pt x="1702775" y="1263233"/>
                  <a:pt x="1050420" y="1915694"/>
                </a:cubicBezTo>
                <a:cubicBezTo>
                  <a:pt x="627086" y="2338281"/>
                  <a:pt x="429946" y="2890466"/>
                  <a:pt x="429946" y="3653385"/>
                </a:cubicBezTo>
                <a:cubicBezTo>
                  <a:pt x="429946" y="3990251"/>
                  <a:pt x="466943" y="4324185"/>
                  <a:pt x="537044" y="4621975"/>
                </a:cubicBezTo>
                <a:cubicBezTo>
                  <a:pt x="804928" y="4541369"/>
                  <a:pt x="1152189" y="4524044"/>
                  <a:pt x="1401680" y="4524044"/>
                </a:cubicBezTo>
                <a:lnTo>
                  <a:pt x="1471570" y="4524044"/>
                </a:lnTo>
                <a:cubicBezTo>
                  <a:pt x="2189708" y="4524844"/>
                  <a:pt x="2757940" y="4525376"/>
                  <a:pt x="3379161" y="3903462"/>
                </a:cubicBezTo>
                <a:cubicBezTo>
                  <a:pt x="3789754" y="3493242"/>
                  <a:pt x="3897121" y="2935300"/>
                  <a:pt x="4021439" y="2289290"/>
                </a:cubicBezTo>
                <a:cubicBezTo>
                  <a:pt x="4122355" y="1764667"/>
                  <a:pt x="4236278" y="1172553"/>
                  <a:pt x="4529963" y="550532"/>
                </a:cubicBezTo>
                <a:close/>
                <a:moveTo>
                  <a:pt x="5330999" y="0"/>
                </a:moveTo>
                <a:lnTo>
                  <a:pt x="5103792" y="385005"/>
                </a:lnTo>
                <a:cubicBezTo>
                  <a:pt x="4691226" y="1083952"/>
                  <a:pt x="4559711" y="1767332"/>
                  <a:pt x="4443708" y="2370321"/>
                </a:cubicBezTo>
                <a:cubicBezTo>
                  <a:pt x="4311712" y="3056207"/>
                  <a:pt x="4187073" y="3704030"/>
                  <a:pt x="3683241" y="4207436"/>
                </a:cubicBezTo>
                <a:cubicBezTo>
                  <a:pt x="2935568" y="4955855"/>
                  <a:pt x="2224040" y="4954948"/>
                  <a:pt x="1471143" y="4953935"/>
                </a:cubicBezTo>
                <a:lnTo>
                  <a:pt x="1401680" y="4953935"/>
                </a:lnTo>
                <a:cubicBezTo>
                  <a:pt x="993539" y="4953935"/>
                  <a:pt x="687220" y="4999515"/>
                  <a:pt x="539284" y="5082306"/>
                </a:cubicBezTo>
                <a:cubicBezTo>
                  <a:pt x="420083" y="5148943"/>
                  <a:pt x="326204" y="5235838"/>
                  <a:pt x="325245" y="5236692"/>
                </a:cubicBezTo>
                <a:lnTo>
                  <a:pt x="282810" y="5276193"/>
                </a:lnTo>
                <a:lnTo>
                  <a:pt x="190904" y="4984642"/>
                </a:lnTo>
                <a:cubicBezTo>
                  <a:pt x="65998" y="4588336"/>
                  <a:pt x="0" y="4128004"/>
                  <a:pt x="0" y="3653385"/>
                </a:cubicBezTo>
                <a:cubicBezTo>
                  <a:pt x="0" y="2768813"/>
                  <a:pt x="237230" y="2119978"/>
                  <a:pt x="746553" y="1611507"/>
                </a:cubicBezTo>
                <a:cubicBezTo>
                  <a:pt x="1732042" y="625913"/>
                  <a:pt x="3393288" y="275612"/>
                  <a:pt x="4888314" y="62959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ru-RU"/>
              <a:t>Вставка рисунка</a:t>
            </a:r>
            <a:endParaRPr lang="en-US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CC296565-E762-6219-9937-B3DCF2DB30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4800" y="4208211"/>
            <a:ext cx="5676900" cy="541589"/>
          </a:xfrm>
        </p:spPr>
        <p:txBody>
          <a:bodyPr lIns="0" tIns="0" rIns="0" bIns="0"/>
          <a:lstStyle>
            <a:lvl1pPr marL="0" indent="0" algn="l">
              <a:buNone/>
              <a:defRPr sz="2200">
                <a:solidFill>
                  <a:srgbClr val="2646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</a:t>
            </a:r>
            <a:endParaRPr lang="en-GB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8842F570-6DDB-7A55-A80F-1DB946E826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04800" y="5844101"/>
            <a:ext cx="2121368" cy="299524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8A732F45-B870-D75E-C16D-F1D98EAE30A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800" y="228600"/>
            <a:ext cx="1788072" cy="532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786279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3EA0C3CE-08FA-19D2-43B5-C7E2A8D47481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4887264E-B4D6-4B62-DAFD-632E86957036}"/>
              </a:ext>
            </a:extLst>
          </p:cNvPr>
          <p:cNvSpPr/>
          <p:nvPr userDrawn="1"/>
        </p:nvSpPr>
        <p:spPr>
          <a:xfrm>
            <a:off x="5740316" y="609601"/>
            <a:ext cx="5707636" cy="5648958"/>
          </a:xfrm>
          <a:custGeom>
            <a:avLst/>
            <a:gdLst>
              <a:gd name="connsiteX0" fmla="*/ 3768352 w 4434712"/>
              <a:gd name="connsiteY0" fmla="*/ 457973 h 4389120"/>
              <a:gd name="connsiteX1" fmla="*/ 873816 w 4434712"/>
              <a:gd name="connsiteY1" fmla="*/ 1593614 h 4389120"/>
              <a:gd name="connsiteX2" fmla="*/ 357660 w 4434712"/>
              <a:gd name="connsiteY2" fmla="*/ 3039151 h 4389120"/>
              <a:gd name="connsiteX3" fmla="*/ 446752 w 4434712"/>
              <a:gd name="connsiteY3" fmla="*/ 3844894 h 4389120"/>
              <a:gd name="connsiteX4" fmla="*/ 1166019 w 4434712"/>
              <a:gd name="connsiteY4" fmla="*/ 3763428 h 4389120"/>
              <a:gd name="connsiteX5" fmla="*/ 1224159 w 4434712"/>
              <a:gd name="connsiteY5" fmla="*/ 3763428 h 4389120"/>
              <a:gd name="connsiteX6" fmla="*/ 2811032 w 4434712"/>
              <a:gd name="connsiteY6" fmla="*/ 3247183 h 4389120"/>
              <a:gd name="connsiteX7" fmla="*/ 3345325 w 4434712"/>
              <a:gd name="connsiteY7" fmla="*/ 1904398 h 4389120"/>
              <a:gd name="connsiteX8" fmla="*/ 3768352 w 4434712"/>
              <a:gd name="connsiteY8" fmla="*/ 457973 h 4389120"/>
              <a:gd name="connsiteX9" fmla="*/ 4434712 w 4434712"/>
              <a:gd name="connsiteY9" fmla="*/ 0 h 4389120"/>
              <a:gd name="connsiteX10" fmla="*/ 4245705 w 4434712"/>
              <a:gd name="connsiteY10" fmla="*/ 320275 h 4389120"/>
              <a:gd name="connsiteX11" fmla="*/ 3696599 w 4434712"/>
              <a:gd name="connsiteY11" fmla="*/ 1971805 h 4389120"/>
              <a:gd name="connsiteX12" fmla="*/ 3063988 w 4434712"/>
              <a:gd name="connsiteY12" fmla="*/ 3500051 h 4389120"/>
              <a:gd name="connsiteX13" fmla="*/ 1223804 w 4434712"/>
              <a:gd name="connsiteY13" fmla="*/ 4121043 h 4389120"/>
              <a:gd name="connsiteX14" fmla="*/ 1166019 w 4434712"/>
              <a:gd name="connsiteY14" fmla="*/ 4121043 h 4389120"/>
              <a:gd name="connsiteX15" fmla="*/ 448616 w 4434712"/>
              <a:gd name="connsiteY15" fmla="*/ 4227831 h 4389120"/>
              <a:gd name="connsiteX16" fmla="*/ 270563 w 4434712"/>
              <a:gd name="connsiteY16" fmla="*/ 4356261 h 4389120"/>
              <a:gd name="connsiteX17" fmla="*/ 235262 w 4434712"/>
              <a:gd name="connsiteY17" fmla="*/ 4389120 h 4389120"/>
              <a:gd name="connsiteX18" fmla="*/ 158808 w 4434712"/>
              <a:gd name="connsiteY18" fmla="*/ 4146587 h 4389120"/>
              <a:gd name="connsiteX19" fmla="*/ 0 w 4434712"/>
              <a:gd name="connsiteY19" fmla="*/ 3039151 h 4389120"/>
              <a:gd name="connsiteX20" fmla="*/ 621037 w 4434712"/>
              <a:gd name="connsiteY20" fmla="*/ 1340569 h 4389120"/>
              <a:gd name="connsiteX21" fmla="*/ 4066455 w 4434712"/>
              <a:gd name="connsiteY21" fmla="*/ 52374 h 4389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4434712" h="4389120">
                <a:moveTo>
                  <a:pt x="3768352" y="457973"/>
                </a:moveTo>
                <a:cubicBezTo>
                  <a:pt x="2363657" y="679176"/>
                  <a:pt x="1416492" y="1050849"/>
                  <a:pt x="873816" y="1593614"/>
                </a:cubicBezTo>
                <a:cubicBezTo>
                  <a:pt x="521656" y="1945152"/>
                  <a:pt x="357660" y="2404499"/>
                  <a:pt x="357660" y="3039151"/>
                </a:cubicBezTo>
                <a:cubicBezTo>
                  <a:pt x="357660" y="3319381"/>
                  <a:pt x="388437" y="3597171"/>
                  <a:pt x="446752" y="3844894"/>
                </a:cubicBezTo>
                <a:cubicBezTo>
                  <a:pt x="669598" y="3777840"/>
                  <a:pt x="958474" y="3763428"/>
                  <a:pt x="1166019" y="3763428"/>
                </a:cubicBezTo>
                <a:lnTo>
                  <a:pt x="1224159" y="3763428"/>
                </a:lnTo>
                <a:cubicBezTo>
                  <a:pt x="1821558" y="3764094"/>
                  <a:pt x="2294255" y="3764536"/>
                  <a:pt x="2811032" y="3247183"/>
                </a:cubicBezTo>
                <a:cubicBezTo>
                  <a:pt x="3152592" y="2905932"/>
                  <a:pt x="3241908" y="2441795"/>
                  <a:pt x="3345325" y="1904398"/>
                </a:cubicBezTo>
                <a:cubicBezTo>
                  <a:pt x="3429275" y="1467978"/>
                  <a:pt x="3524043" y="975415"/>
                  <a:pt x="3768352" y="457973"/>
                </a:cubicBezTo>
                <a:close/>
                <a:moveTo>
                  <a:pt x="4434712" y="0"/>
                </a:moveTo>
                <a:lnTo>
                  <a:pt x="4245705" y="320275"/>
                </a:lnTo>
                <a:cubicBezTo>
                  <a:pt x="3902502" y="901710"/>
                  <a:pt x="3793099" y="1470196"/>
                  <a:pt x="3696599" y="1971805"/>
                </a:cubicBezTo>
                <a:cubicBezTo>
                  <a:pt x="3586795" y="2542375"/>
                  <a:pt x="3483111" y="3081281"/>
                  <a:pt x="3063988" y="3500051"/>
                </a:cubicBezTo>
                <a:cubicBezTo>
                  <a:pt x="2442019" y="4122640"/>
                  <a:pt x="1850118" y="4121886"/>
                  <a:pt x="1223804" y="4121043"/>
                </a:cubicBezTo>
                <a:lnTo>
                  <a:pt x="1166019" y="4121043"/>
                </a:lnTo>
                <a:cubicBezTo>
                  <a:pt x="826498" y="4121043"/>
                  <a:pt x="571680" y="4158959"/>
                  <a:pt x="448616" y="4227831"/>
                </a:cubicBezTo>
                <a:cubicBezTo>
                  <a:pt x="349456" y="4283265"/>
                  <a:pt x="271360" y="4355550"/>
                  <a:pt x="270563" y="4356261"/>
                </a:cubicBezTo>
                <a:lnTo>
                  <a:pt x="235262" y="4389120"/>
                </a:lnTo>
                <a:lnTo>
                  <a:pt x="158808" y="4146587"/>
                </a:lnTo>
                <a:cubicBezTo>
                  <a:pt x="54903" y="3816911"/>
                  <a:pt x="0" y="3433973"/>
                  <a:pt x="0" y="3039151"/>
                </a:cubicBezTo>
                <a:cubicBezTo>
                  <a:pt x="0" y="2303300"/>
                  <a:pt x="197345" y="1763552"/>
                  <a:pt x="621037" y="1340569"/>
                </a:cubicBezTo>
                <a:cubicBezTo>
                  <a:pt x="1440839" y="520680"/>
                  <a:pt x="2822784" y="229274"/>
                  <a:pt x="4066455" y="52374"/>
                </a:cubicBezTo>
                <a:close/>
              </a:path>
            </a:pathLst>
          </a:custGeom>
          <a:gradFill>
            <a:gsLst>
              <a:gs pos="19000">
                <a:schemeClr val="bg1"/>
              </a:gs>
              <a:gs pos="90000">
                <a:schemeClr val="bg1">
                  <a:lumMod val="95000"/>
                </a:scheme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4719AD21-D412-D6FD-65E5-3DF2969482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55960" y="6399515"/>
            <a:ext cx="1031238" cy="307367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37AEF56B-81F7-DF4B-FCF6-4D0661A980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1374113"/>
            <a:ext cx="11582400" cy="777240"/>
          </a:xfrm>
        </p:spPr>
        <p:txBody>
          <a:bodyPr anchor="b"/>
          <a:lstStyle>
            <a:lvl1pPr>
              <a:defRPr sz="4000"/>
            </a:lvl1pPr>
          </a:lstStyle>
          <a:p>
            <a:r>
              <a:rPr lang="en-US" dirty="0"/>
              <a:t>Agenda Title</a:t>
            </a:r>
            <a:endParaRPr lang="en-GB" dirty="0"/>
          </a:p>
        </p:txBody>
      </p:sp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14690B3D-1AB7-A58C-11F7-5A53F55804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4800" y="6435990"/>
            <a:ext cx="2350006" cy="311036"/>
          </a:xfrm>
        </p:spPr>
        <p:txBody>
          <a:bodyPr lIns="0" tIns="128016" rIns="0" bIns="0"/>
          <a:lstStyle/>
          <a:p>
            <a:pPr algn="r"/>
            <a:r>
              <a:rPr lang="en-GB" dirty="0"/>
              <a:t>Classification: INTERNAL USE ONLY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C41F37F3-DBFE-E530-1EF9-F552D36CF3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4798" y="6500138"/>
            <a:ext cx="347472" cy="246888"/>
          </a:xfrm>
        </p:spPr>
        <p:txBody>
          <a:bodyPr lIns="0" tIns="0" rIns="0" bIns="0"/>
          <a:lstStyle/>
          <a:p>
            <a:fld id="{7695D00A-BA34-4D39-8C84-2534822D643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515500BE-A7A4-CB45-9EB8-9769FF0EC75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2527300"/>
            <a:ext cx="11582400" cy="3721100"/>
          </a:xfrm>
        </p:spPr>
        <p:txBody>
          <a:bodyPr numCol="1" spcCol="914400"/>
          <a:lstStyle>
            <a:lvl1pPr marL="342900" indent="-342900">
              <a:buClr>
                <a:schemeClr val="tx2"/>
              </a:buClr>
              <a:buFont typeface="+mj-lt"/>
              <a:buAutoNum type="arabicPeriod"/>
              <a:defRPr sz="1800"/>
            </a:lvl1pPr>
            <a:lvl2pPr marL="574675" indent="-228600">
              <a:defRPr sz="1800"/>
            </a:lvl2pPr>
            <a:lvl3pPr marL="803275" indent="-228600">
              <a:defRPr sz="1800"/>
            </a:lvl3pPr>
            <a:lvl4pPr marL="1031875" indent="-228600">
              <a:defRPr sz="1800"/>
            </a:lvl4pPr>
            <a:lvl5pPr marL="1260475" indent="-228600">
              <a:defRPr sz="18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583486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029ECF-F82F-FC94-61E3-BF88A7DE4FF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FC732C4-8432-22E6-FC2D-8676A57513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798" y="2958298"/>
            <a:ext cx="4160520" cy="2253782"/>
          </a:xfrm>
        </p:spPr>
        <p:txBody>
          <a:bodyPr/>
          <a:lstStyle>
            <a:lvl1pPr>
              <a:defRPr sz="4400" b="0"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Insert your chapter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B2BBC38-7A8B-8262-F750-86C80DFDF32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695D00A-BA34-4D39-8C84-2534822D643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4C19D78-3C50-56AE-9DEC-AA1603458C2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798" y="2803454"/>
            <a:ext cx="4160520" cy="145390"/>
          </a:xfrm>
          <a:custGeom>
            <a:avLst/>
            <a:gdLst>
              <a:gd name="connsiteX0" fmla="*/ 0 w 2728912"/>
              <a:gd name="connsiteY0" fmla="*/ 0 h 768350"/>
              <a:gd name="connsiteX1" fmla="*/ 2728912 w 2728912"/>
              <a:gd name="connsiteY1" fmla="*/ 0 h 768350"/>
              <a:gd name="connsiteX2" fmla="*/ 2728912 w 2728912"/>
              <a:gd name="connsiteY2" fmla="*/ 768350 h 768350"/>
              <a:gd name="connsiteX3" fmla="*/ 0 w 2728912"/>
              <a:gd name="connsiteY3" fmla="*/ 768350 h 768350"/>
              <a:gd name="connsiteX4" fmla="*/ 0 w 2728912"/>
              <a:gd name="connsiteY4" fmla="*/ 0 h 768350"/>
              <a:gd name="connsiteX0" fmla="*/ 0 w 2728912"/>
              <a:gd name="connsiteY0" fmla="*/ 0 h 768350"/>
              <a:gd name="connsiteX1" fmla="*/ 2728912 w 2728912"/>
              <a:gd name="connsiteY1" fmla="*/ 0 h 768350"/>
              <a:gd name="connsiteX2" fmla="*/ 2728912 w 2728912"/>
              <a:gd name="connsiteY2" fmla="*/ 768350 h 768350"/>
              <a:gd name="connsiteX3" fmla="*/ 0 w 2728912"/>
              <a:gd name="connsiteY3" fmla="*/ 0 h 768350"/>
              <a:gd name="connsiteX0" fmla="*/ 0 w 2728912"/>
              <a:gd name="connsiteY0" fmla="*/ 0 h 0"/>
              <a:gd name="connsiteX1" fmla="*/ 2728912 w 2728912"/>
              <a:gd name="connsiteY1" fmla="*/ 0 h 0"/>
              <a:gd name="connsiteX2" fmla="*/ 0 w 2728912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28912">
                <a:moveTo>
                  <a:pt x="0" y="0"/>
                </a:moveTo>
                <a:lnTo>
                  <a:pt x="2728912" y="0"/>
                </a:lnTo>
                <a:lnTo>
                  <a:pt x="0" y="0"/>
                </a:lnTo>
                <a:close/>
              </a:path>
            </a:pathLst>
          </a:custGeom>
          <a:ln w="6350">
            <a:solidFill>
              <a:schemeClr val="accent4"/>
            </a:solidFill>
          </a:ln>
        </p:spPr>
        <p:txBody>
          <a:bodyPr/>
          <a:lstStyle>
            <a:lvl1pPr>
              <a:defRPr sz="1200">
                <a:noFill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13E5814F-3E25-C553-0023-5A1250C547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418080"/>
            <a:ext cx="4160838" cy="375920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Chapter 1</a:t>
            </a: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94E97C3E-2534-9D86-DB6D-24AAA3C01EDA}"/>
              </a:ext>
            </a:extLst>
          </p:cNvPr>
          <p:cNvSpPr/>
          <p:nvPr userDrawn="1"/>
        </p:nvSpPr>
        <p:spPr>
          <a:xfrm>
            <a:off x="6779324" y="1239520"/>
            <a:ext cx="4434712" cy="4389120"/>
          </a:xfrm>
          <a:custGeom>
            <a:avLst/>
            <a:gdLst>
              <a:gd name="connsiteX0" fmla="*/ 3768352 w 4434712"/>
              <a:gd name="connsiteY0" fmla="*/ 457973 h 4389120"/>
              <a:gd name="connsiteX1" fmla="*/ 873816 w 4434712"/>
              <a:gd name="connsiteY1" fmla="*/ 1593614 h 4389120"/>
              <a:gd name="connsiteX2" fmla="*/ 357660 w 4434712"/>
              <a:gd name="connsiteY2" fmla="*/ 3039151 h 4389120"/>
              <a:gd name="connsiteX3" fmla="*/ 446752 w 4434712"/>
              <a:gd name="connsiteY3" fmla="*/ 3844894 h 4389120"/>
              <a:gd name="connsiteX4" fmla="*/ 1166019 w 4434712"/>
              <a:gd name="connsiteY4" fmla="*/ 3763428 h 4389120"/>
              <a:gd name="connsiteX5" fmla="*/ 1224159 w 4434712"/>
              <a:gd name="connsiteY5" fmla="*/ 3763428 h 4389120"/>
              <a:gd name="connsiteX6" fmla="*/ 2811032 w 4434712"/>
              <a:gd name="connsiteY6" fmla="*/ 3247183 h 4389120"/>
              <a:gd name="connsiteX7" fmla="*/ 3345325 w 4434712"/>
              <a:gd name="connsiteY7" fmla="*/ 1904398 h 4389120"/>
              <a:gd name="connsiteX8" fmla="*/ 3768352 w 4434712"/>
              <a:gd name="connsiteY8" fmla="*/ 457973 h 4389120"/>
              <a:gd name="connsiteX9" fmla="*/ 4434712 w 4434712"/>
              <a:gd name="connsiteY9" fmla="*/ 0 h 4389120"/>
              <a:gd name="connsiteX10" fmla="*/ 4245705 w 4434712"/>
              <a:gd name="connsiteY10" fmla="*/ 320275 h 4389120"/>
              <a:gd name="connsiteX11" fmla="*/ 3696599 w 4434712"/>
              <a:gd name="connsiteY11" fmla="*/ 1971805 h 4389120"/>
              <a:gd name="connsiteX12" fmla="*/ 3063988 w 4434712"/>
              <a:gd name="connsiteY12" fmla="*/ 3500051 h 4389120"/>
              <a:gd name="connsiteX13" fmla="*/ 1223804 w 4434712"/>
              <a:gd name="connsiteY13" fmla="*/ 4121043 h 4389120"/>
              <a:gd name="connsiteX14" fmla="*/ 1166019 w 4434712"/>
              <a:gd name="connsiteY14" fmla="*/ 4121043 h 4389120"/>
              <a:gd name="connsiteX15" fmla="*/ 448616 w 4434712"/>
              <a:gd name="connsiteY15" fmla="*/ 4227831 h 4389120"/>
              <a:gd name="connsiteX16" fmla="*/ 270563 w 4434712"/>
              <a:gd name="connsiteY16" fmla="*/ 4356261 h 4389120"/>
              <a:gd name="connsiteX17" fmla="*/ 235262 w 4434712"/>
              <a:gd name="connsiteY17" fmla="*/ 4389120 h 4389120"/>
              <a:gd name="connsiteX18" fmla="*/ 158808 w 4434712"/>
              <a:gd name="connsiteY18" fmla="*/ 4146587 h 4389120"/>
              <a:gd name="connsiteX19" fmla="*/ 0 w 4434712"/>
              <a:gd name="connsiteY19" fmla="*/ 3039151 h 4389120"/>
              <a:gd name="connsiteX20" fmla="*/ 621037 w 4434712"/>
              <a:gd name="connsiteY20" fmla="*/ 1340569 h 4389120"/>
              <a:gd name="connsiteX21" fmla="*/ 4066455 w 4434712"/>
              <a:gd name="connsiteY21" fmla="*/ 52374 h 4389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4434712" h="4389120">
                <a:moveTo>
                  <a:pt x="3768352" y="457973"/>
                </a:moveTo>
                <a:cubicBezTo>
                  <a:pt x="2363657" y="679176"/>
                  <a:pt x="1416492" y="1050849"/>
                  <a:pt x="873816" y="1593614"/>
                </a:cubicBezTo>
                <a:cubicBezTo>
                  <a:pt x="521656" y="1945152"/>
                  <a:pt x="357660" y="2404499"/>
                  <a:pt x="357660" y="3039151"/>
                </a:cubicBezTo>
                <a:cubicBezTo>
                  <a:pt x="357660" y="3319381"/>
                  <a:pt x="388437" y="3597171"/>
                  <a:pt x="446752" y="3844894"/>
                </a:cubicBezTo>
                <a:cubicBezTo>
                  <a:pt x="669598" y="3777840"/>
                  <a:pt x="958474" y="3763428"/>
                  <a:pt x="1166019" y="3763428"/>
                </a:cubicBezTo>
                <a:lnTo>
                  <a:pt x="1224159" y="3763428"/>
                </a:lnTo>
                <a:cubicBezTo>
                  <a:pt x="1821558" y="3764094"/>
                  <a:pt x="2294255" y="3764536"/>
                  <a:pt x="2811032" y="3247183"/>
                </a:cubicBezTo>
                <a:cubicBezTo>
                  <a:pt x="3152592" y="2905932"/>
                  <a:pt x="3241908" y="2441795"/>
                  <a:pt x="3345325" y="1904398"/>
                </a:cubicBezTo>
                <a:cubicBezTo>
                  <a:pt x="3429275" y="1467978"/>
                  <a:pt x="3524043" y="975415"/>
                  <a:pt x="3768352" y="457973"/>
                </a:cubicBezTo>
                <a:close/>
                <a:moveTo>
                  <a:pt x="4434712" y="0"/>
                </a:moveTo>
                <a:lnTo>
                  <a:pt x="4245705" y="320275"/>
                </a:lnTo>
                <a:cubicBezTo>
                  <a:pt x="3902502" y="901710"/>
                  <a:pt x="3793099" y="1470196"/>
                  <a:pt x="3696599" y="1971805"/>
                </a:cubicBezTo>
                <a:cubicBezTo>
                  <a:pt x="3586795" y="2542375"/>
                  <a:pt x="3483111" y="3081281"/>
                  <a:pt x="3063988" y="3500051"/>
                </a:cubicBezTo>
                <a:cubicBezTo>
                  <a:pt x="2442019" y="4122640"/>
                  <a:pt x="1850118" y="4121886"/>
                  <a:pt x="1223804" y="4121043"/>
                </a:cubicBezTo>
                <a:lnTo>
                  <a:pt x="1166019" y="4121043"/>
                </a:lnTo>
                <a:cubicBezTo>
                  <a:pt x="826498" y="4121043"/>
                  <a:pt x="571680" y="4158959"/>
                  <a:pt x="448616" y="4227831"/>
                </a:cubicBezTo>
                <a:cubicBezTo>
                  <a:pt x="349456" y="4283265"/>
                  <a:pt x="271360" y="4355550"/>
                  <a:pt x="270563" y="4356261"/>
                </a:cubicBezTo>
                <a:lnTo>
                  <a:pt x="235262" y="4389120"/>
                </a:lnTo>
                <a:lnTo>
                  <a:pt x="158808" y="4146587"/>
                </a:lnTo>
                <a:cubicBezTo>
                  <a:pt x="54903" y="3816911"/>
                  <a:pt x="0" y="3433973"/>
                  <a:pt x="0" y="3039151"/>
                </a:cubicBezTo>
                <a:cubicBezTo>
                  <a:pt x="0" y="2303300"/>
                  <a:pt x="197345" y="1763552"/>
                  <a:pt x="621037" y="1340569"/>
                </a:cubicBezTo>
                <a:cubicBezTo>
                  <a:pt x="1440839" y="520680"/>
                  <a:pt x="2822784" y="229274"/>
                  <a:pt x="4066455" y="52374"/>
                </a:cubicBezTo>
                <a:close/>
              </a:path>
            </a:pathLst>
          </a:custGeom>
          <a:gradFill>
            <a:gsLst>
              <a:gs pos="19000">
                <a:schemeClr val="bg1">
                  <a:lumMod val="75000"/>
                </a:schemeClr>
              </a:gs>
              <a:gs pos="90000">
                <a:schemeClr val="bg1">
                  <a:lumMod val="95000"/>
                </a:scheme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496839E6-3300-D9DA-063A-F8F5010731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55960" y="6399515"/>
            <a:ext cx="1031238" cy="307367"/>
          </a:xfrm>
          <a:prstGeom prst="rect">
            <a:avLst/>
          </a:prstGeom>
        </p:spPr>
      </p:pic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71FBC2B-2E98-95AB-7D4D-4658E3C6AC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4798" y="6435990"/>
            <a:ext cx="2350008" cy="307366"/>
          </a:xfrm>
          <a:custGeom>
            <a:avLst/>
            <a:gdLst>
              <a:gd name="connsiteX0" fmla="*/ 0 w 2350008"/>
              <a:gd name="connsiteY0" fmla="*/ 0 h 311036"/>
              <a:gd name="connsiteX1" fmla="*/ 2350008 w 2350008"/>
              <a:gd name="connsiteY1" fmla="*/ 0 h 311036"/>
              <a:gd name="connsiteX2" fmla="*/ 2350008 w 2350008"/>
              <a:gd name="connsiteY2" fmla="*/ 311036 h 311036"/>
              <a:gd name="connsiteX3" fmla="*/ 0 w 2350008"/>
              <a:gd name="connsiteY3" fmla="*/ 311036 h 311036"/>
              <a:gd name="connsiteX4" fmla="*/ 0 w 2350008"/>
              <a:gd name="connsiteY4" fmla="*/ 0 h 311036"/>
              <a:gd name="connsiteX0" fmla="*/ 0 w 2350008"/>
              <a:gd name="connsiteY0" fmla="*/ 0 h 311036"/>
              <a:gd name="connsiteX1" fmla="*/ 2350008 w 2350008"/>
              <a:gd name="connsiteY1" fmla="*/ 0 h 311036"/>
              <a:gd name="connsiteX2" fmla="*/ 0 w 2350008"/>
              <a:gd name="connsiteY2" fmla="*/ 311036 h 311036"/>
              <a:gd name="connsiteX3" fmla="*/ 0 w 2350008"/>
              <a:gd name="connsiteY3" fmla="*/ 0 h 311036"/>
              <a:gd name="connsiteX0" fmla="*/ 0 w 2350008"/>
              <a:gd name="connsiteY0" fmla="*/ 0 h 0"/>
              <a:gd name="connsiteX1" fmla="*/ 2350008 w 2350008"/>
              <a:gd name="connsiteY1" fmla="*/ 0 h 0"/>
              <a:gd name="connsiteX2" fmla="*/ 0 w 2350008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50008">
                <a:moveTo>
                  <a:pt x="0" y="0"/>
                </a:moveTo>
                <a:lnTo>
                  <a:pt x="2350008" y="0"/>
                </a:lnTo>
                <a:lnTo>
                  <a:pt x="0" y="0"/>
                </a:lnTo>
                <a:close/>
              </a:path>
            </a:pathLst>
          </a:custGeom>
          <a:ln w="6350">
            <a:solidFill>
              <a:schemeClr val="tx1"/>
            </a:solidFill>
          </a:ln>
        </p:spPr>
        <p:txBody>
          <a:bodyPr vert="horz" lIns="0" tIns="128016" rIns="0" bIns="0" rtlCol="0" anchor="t">
            <a:no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pPr algn="r"/>
            <a:r>
              <a:rPr lang="en-GB" dirty="0"/>
              <a:t>Classification: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0000011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Divider (leaf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C732C4-8432-22E6-FC2D-8676A57513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3236091"/>
            <a:ext cx="4160520" cy="1472452"/>
          </a:xfrm>
        </p:spPr>
        <p:txBody>
          <a:bodyPr/>
          <a:lstStyle>
            <a:lvl1pPr>
              <a:defRPr sz="4400" b="0">
                <a:solidFill>
                  <a:srgbClr val="264600"/>
                </a:solidFill>
              </a:defRPr>
            </a:lvl1pPr>
          </a:lstStyle>
          <a:p>
            <a:r>
              <a:rPr lang="en-US" dirty="0"/>
              <a:t>Insert your 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3167787-7760-A7A7-E21C-56DD50F67E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GB" dirty="0"/>
              <a:t>Classification: INTERNAL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B2BBC38-7A8B-8262-F750-86C80DFDF32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95D00A-BA34-4D39-8C84-2534822D643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191CD00-6B8A-60F8-83BD-5965C0382A85}"/>
              </a:ext>
            </a:extLst>
          </p:cNvPr>
          <p:cNvSpPr/>
          <p:nvPr userDrawn="1"/>
        </p:nvSpPr>
        <p:spPr>
          <a:xfrm>
            <a:off x="5262762" y="0"/>
            <a:ext cx="6929238" cy="6858000"/>
          </a:xfrm>
          <a:custGeom>
            <a:avLst/>
            <a:gdLst>
              <a:gd name="connsiteX0" fmla="*/ 6929238 w 6929238"/>
              <a:gd name="connsiteY0" fmla="*/ 0 h 6858000"/>
              <a:gd name="connsiteX1" fmla="*/ 6633914 w 6929238"/>
              <a:gd name="connsiteY1" fmla="*/ 500430 h 6858000"/>
              <a:gd name="connsiteX2" fmla="*/ 5775936 w 6929238"/>
              <a:gd name="connsiteY2" fmla="*/ 3080945 h 6858000"/>
              <a:gd name="connsiteX3" fmla="*/ 4787482 w 6929238"/>
              <a:gd name="connsiteY3" fmla="*/ 5468830 h 6858000"/>
              <a:gd name="connsiteX4" fmla="*/ 1912194 w 6929238"/>
              <a:gd name="connsiteY4" fmla="*/ 6439130 h 6858000"/>
              <a:gd name="connsiteX5" fmla="*/ 1821905 w 6929238"/>
              <a:gd name="connsiteY5" fmla="*/ 6439130 h 6858000"/>
              <a:gd name="connsiteX6" fmla="*/ 700963 w 6929238"/>
              <a:gd name="connsiteY6" fmla="*/ 6605986 h 6858000"/>
              <a:gd name="connsiteX7" fmla="*/ 422755 w 6929238"/>
              <a:gd name="connsiteY7" fmla="*/ 6806658 h 6858000"/>
              <a:gd name="connsiteX8" fmla="*/ 367597 w 6929238"/>
              <a:gd name="connsiteY8" fmla="*/ 6858000 h 6858000"/>
              <a:gd name="connsiteX9" fmla="*/ 248138 w 6929238"/>
              <a:gd name="connsiteY9" fmla="*/ 6479042 h 6858000"/>
              <a:gd name="connsiteX10" fmla="*/ 0 w 6929238"/>
              <a:gd name="connsiteY10" fmla="*/ 4748674 h 6858000"/>
              <a:gd name="connsiteX11" fmla="*/ 970371 w 6929238"/>
              <a:gd name="connsiteY11" fmla="*/ 2094639 h 6858000"/>
              <a:gd name="connsiteX12" fmla="*/ 6353836 w 6929238"/>
              <a:gd name="connsiteY12" fmla="*/ 81834 h 6858000"/>
              <a:gd name="connsiteX13" fmla="*/ 6929238 w 6929238"/>
              <a:gd name="connsiteY13" fmla="*/ 0 h 6858000"/>
              <a:gd name="connsiteX14" fmla="*/ 5888050 w 6929238"/>
              <a:gd name="connsiteY14" fmla="*/ 715583 h 6858000"/>
              <a:gd name="connsiteX15" fmla="*/ 1365338 w 6929238"/>
              <a:gd name="connsiteY15" fmla="*/ 2490022 h 6858000"/>
              <a:gd name="connsiteX16" fmla="*/ 558844 w 6929238"/>
              <a:gd name="connsiteY16" fmla="*/ 4748674 h 6858000"/>
              <a:gd name="connsiteX17" fmla="*/ 698050 w 6929238"/>
              <a:gd name="connsiteY17" fmla="*/ 6007647 h 6858000"/>
              <a:gd name="connsiteX18" fmla="*/ 1821905 w 6929238"/>
              <a:gd name="connsiteY18" fmla="*/ 5880356 h 6858000"/>
              <a:gd name="connsiteX19" fmla="*/ 1912749 w 6929238"/>
              <a:gd name="connsiteY19" fmla="*/ 5880356 h 6858000"/>
              <a:gd name="connsiteX20" fmla="*/ 4392238 w 6929238"/>
              <a:gd name="connsiteY20" fmla="*/ 5073724 h 6858000"/>
              <a:gd name="connsiteX21" fmla="*/ 5227070 w 6929238"/>
              <a:gd name="connsiteY21" fmla="*/ 2975622 h 6858000"/>
              <a:gd name="connsiteX22" fmla="*/ 5888050 w 6929238"/>
              <a:gd name="connsiteY22" fmla="*/ 71558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6929238" h="6858000">
                <a:moveTo>
                  <a:pt x="6929238" y="0"/>
                </a:moveTo>
                <a:lnTo>
                  <a:pt x="6633914" y="500430"/>
                </a:lnTo>
                <a:cubicBezTo>
                  <a:pt x="6097660" y="1408922"/>
                  <a:pt x="5926718" y="2297181"/>
                  <a:pt x="5775936" y="3080945"/>
                </a:cubicBezTo>
                <a:cubicBezTo>
                  <a:pt x="5604368" y="3972461"/>
                  <a:pt x="5442362" y="4814502"/>
                  <a:pt x="4787482" y="5468830"/>
                </a:cubicBezTo>
                <a:cubicBezTo>
                  <a:pt x="3815655" y="6441625"/>
                  <a:pt x="2890810" y="6440447"/>
                  <a:pt x="1912194" y="6439130"/>
                </a:cubicBezTo>
                <a:lnTo>
                  <a:pt x="1821905" y="6439130"/>
                </a:lnTo>
                <a:cubicBezTo>
                  <a:pt x="1291403" y="6439130"/>
                  <a:pt x="893250" y="6498374"/>
                  <a:pt x="700963" y="6605986"/>
                </a:cubicBezTo>
                <a:cubicBezTo>
                  <a:pt x="546025" y="6692602"/>
                  <a:pt x="424000" y="6805547"/>
                  <a:pt x="422755" y="6806658"/>
                </a:cubicBezTo>
                <a:lnTo>
                  <a:pt x="367597" y="6858000"/>
                </a:lnTo>
                <a:lnTo>
                  <a:pt x="248138" y="6479042"/>
                </a:lnTo>
                <a:cubicBezTo>
                  <a:pt x="85786" y="5963924"/>
                  <a:pt x="0" y="5365583"/>
                  <a:pt x="0" y="4748674"/>
                </a:cubicBezTo>
                <a:cubicBezTo>
                  <a:pt x="0" y="3598906"/>
                  <a:pt x="308352" y="2755550"/>
                  <a:pt x="970371" y="2094639"/>
                </a:cubicBezTo>
                <a:cubicBezTo>
                  <a:pt x="2251311" y="813563"/>
                  <a:pt x="4410600" y="358241"/>
                  <a:pt x="6353836" y="81834"/>
                </a:cubicBezTo>
                <a:lnTo>
                  <a:pt x="6929238" y="0"/>
                </a:lnTo>
                <a:close/>
                <a:moveTo>
                  <a:pt x="5888050" y="715583"/>
                </a:moveTo>
                <a:cubicBezTo>
                  <a:pt x="3693214" y="1061213"/>
                  <a:pt x="2213269" y="1641952"/>
                  <a:pt x="1365338" y="2490022"/>
                </a:cubicBezTo>
                <a:cubicBezTo>
                  <a:pt x="815088" y="3039300"/>
                  <a:pt x="558844" y="3757030"/>
                  <a:pt x="558844" y="4748674"/>
                </a:cubicBezTo>
                <a:cubicBezTo>
                  <a:pt x="558844" y="5186533"/>
                  <a:pt x="606933" y="5620580"/>
                  <a:pt x="698050" y="6007647"/>
                </a:cubicBezTo>
                <a:cubicBezTo>
                  <a:pt x="1046247" y="5902875"/>
                  <a:pt x="1497616" y="5880356"/>
                  <a:pt x="1821905" y="5880356"/>
                </a:cubicBezTo>
                <a:lnTo>
                  <a:pt x="1912749" y="5880356"/>
                </a:lnTo>
                <a:cubicBezTo>
                  <a:pt x="2846185" y="5881397"/>
                  <a:pt x="3584774" y="5882088"/>
                  <a:pt x="4392238" y="5073724"/>
                </a:cubicBezTo>
                <a:cubicBezTo>
                  <a:pt x="4925926" y="4540519"/>
                  <a:pt x="5065482" y="3815305"/>
                  <a:pt x="5227070" y="2975622"/>
                </a:cubicBezTo>
                <a:cubicBezTo>
                  <a:pt x="5358242" y="2293716"/>
                  <a:pt x="5506318" y="1524086"/>
                  <a:pt x="5888050" y="715583"/>
                </a:cubicBezTo>
                <a:close/>
              </a:path>
            </a:pathLst>
          </a:custGeom>
          <a:solidFill>
            <a:srgbClr val="264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8A75D193-89BE-C621-7890-EC55550072FD}"/>
              </a:ext>
            </a:extLst>
          </p:cNvPr>
          <p:cNvSpPr/>
          <p:nvPr userDrawn="1"/>
        </p:nvSpPr>
        <p:spPr>
          <a:xfrm>
            <a:off x="5630359" y="0"/>
            <a:ext cx="6561641" cy="6858000"/>
          </a:xfrm>
          <a:custGeom>
            <a:avLst/>
            <a:gdLst>
              <a:gd name="connsiteX0" fmla="*/ 6561641 w 6561641"/>
              <a:gd name="connsiteY0" fmla="*/ 0 h 6858000"/>
              <a:gd name="connsiteX1" fmla="*/ 6561641 w 6561641"/>
              <a:gd name="connsiteY1" fmla="*/ 6858000 h 6858000"/>
              <a:gd name="connsiteX2" fmla="*/ 0 w 6561641"/>
              <a:gd name="connsiteY2" fmla="*/ 6858000 h 6858000"/>
              <a:gd name="connsiteX3" fmla="*/ 55158 w 6561641"/>
              <a:gd name="connsiteY3" fmla="*/ 6806658 h 6858000"/>
              <a:gd name="connsiteX4" fmla="*/ 333366 w 6561641"/>
              <a:gd name="connsiteY4" fmla="*/ 6605986 h 6858000"/>
              <a:gd name="connsiteX5" fmla="*/ 1454308 w 6561641"/>
              <a:gd name="connsiteY5" fmla="*/ 6439130 h 6858000"/>
              <a:gd name="connsiteX6" fmla="*/ 1544597 w 6561641"/>
              <a:gd name="connsiteY6" fmla="*/ 6439130 h 6858000"/>
              <a:gd name="connsiteX7" fmla="*/ 4419885 w 6561641"/>
              <a:gd name="connsiteY7" fmla="*/ 5468830 h 6858000"/>
              <a:gd name="connsiteX8" fmla="*/ 5408339 w 6561641"/>
              <a:gd name="connsiteY8" fmla="*/ 3080945 h 6858000"/>
              <a:gd name="connsiteX9" fmla="*/ 6266317 w 6561641"/>
              <a:gd name="connsiteY9" fmla="*/ 500430 h 6858000"/>
              <a:gd name="connsiteX10" fmla="*/ 6561641 w 6561641"/>
              <a:gd name="connsiteY10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561641" h="6858000">
                <a:moveTo>
                  <a:pt x="6561641" y="0"/>
                </a:moveTo>
                <a:lnTo>
                  <a:pt x="6561641" y="6858000"/>
                </a:lnTo>
                <a:lnTo>
                  <a:pt x="0" y="6858000"/>
                </a:lnTo>
                <a:lnTo>
                  <a:pt x="55158" y="6806658"/>
                </a:lnTo>
                <a:cubicBezTo>
                  <a:pt x="56403" y="6805547"/>
                  <a:pt x="178428" y="6692602"/>
                  <a:pt x="333366" y="6605986"/>
                </a:cubicBezTo>
                <a:cubicBezTo>
                  <a:pt x="525653" y="6498374"/>
                  <a:pt x="923806" y="6439130"/>
                  <a:pt x="1454308" y="6439130"/>
                </a:cubicBezTo>
                <a:lnTo>
                  <a:pt x="1544597" y="6439130"/>
                </a:lnTo>
                <a:cubicBezTo>
                  <a:pt x="2523213" y="6440447"/>
                  <a:pt x="3448058" y="6441625"/>
                  <a:pt x="4419885" y="5468830"/>
                </a:cubicBezTo>
                <a:cubicBezTo>
                  <a:pt x="5074765" y="4814502"/>
                  <a:pt x="5236771" y="3972461"/>
                  <a:pt x="5408339" y="3080945"/>
                </a:cubicBezTo>
                <a:cubicBezTo>
                  <a:pt x="5559121" y="2297181"/>
                  <a:pt x="5730063" y="1408922"/>
                  <a:pt x="6266317" y="500430"/>
                </a:cubicBezTo>
                <a:lnTo>
                  <a:pt x="6561641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AF5211D5-8F35-CA20-7916-E120AA746F60}"/>
              </a:ext>
            </a:extLst>
          </p:cNvPr>
          <p:cNvSpPr/>
          <p:nvPr userDrawn="1"/>
        </p:nvSpPr>
        <p:spPr>
          <a:xfrm>
            <a:off x="5821606" y="715583"/>
            <a:ext cx="5329206" cy="5292064"/>
          </a:xfrm>
          <a:custGeom>
            <a:avLst/>
            <a:gdLst>
              <a:gd name="connsiteX0" fmla="*/ 5329206 w 5329206"/>
              <a:gd name="connsiteY0" fmla="*/ 0 h 5292064"/>
              <a:gd name="connsiteX1" fmla="*/ 4668226 w 5329206"/>
              <a:gd name="connsiteY1" fmla="*/ 2260039 h 5292064"/>
              <a:gd name="connsiteX2" fmla="*/ 3833394 w 5329206"/>
              <a:gd name="connsiteY2" fmla="*/ 4358141 h 5292064"/>
              <a:gd name="connsiteX3" fmla="*/ 1353905 w 5329206"/>
              <a:gd name="connsiteY3" fmla="*/ 5164773 h 5292064"/>
              <a:gd name="connsiteX4" fmla="*/ 1263061 w 5329206"/>
              <a:gd name="connsiteY4" fmla="*/ 5164773 h 5292064"/>
              <a:gd name="connsiteX5" fmla="*/ 139206 w 5329206"/>
              <a:gd name="connsiteY5" fmla="*/ 5292064 h 5292064"/>
              <a:gd name="connsiteX6" fmla="*/ 0 w 5329206"/>
              <a:gd name="connsiteY6" fmla="*/ 4033091 h 5292064"/>
              <a:gd name="connsiteX7" fmla="*/ 806494 w 5329206"/>
              <a:gd name="connsiteY7" fmla="*/ 1774439 h 5292064"/>
              <a:gd name="connsiteX8" fmla="*/ 5329206 w 5329206"/>
              <a:gd name="connsiteY8" fmla="*/ 0 h 52920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329206" h="5292064">
                <a:moveTo>
                  <a:pt x="5329206" y="0"/>
                </a:moveTo>
                <a:cubicBezTo>
                  <a:pt x="4947474" y="808503"/>
                  <a:pt x="4799398" y="1578133"/>
                  <a:pt x="4668226" y="2260039"/>
                </a:cubicBezTo>
                <a:cubicBezTo>
                  <a:pt x="4506638" y="3099722"/>
                  <a:pt x="4367082" y="3824936"/>
                  <a:pt x="3833394" y="4358141"/>
                </a:cubicBezTo>
                <a:cubicBezTo>
                  <a:pt x="3025930" y="5166505"/>
                  <a:pt x="2287341" y="5165814"/>
                  <a:pt x="1353905" y="5164773"/>
                </a:cubicBezTo>
                <a:lnTo>
                  <a:pt x="1263061" y="5164773"/>
                </a:lnTo>
                <a:cubicBezTo>
                  <a:pt x="938772" y="5164773"/>
                  <a:pt x="487403" y="5187292"/>
                  <a:pt x="139206" y="5292064"/>
                </a:cubicBezTo>
                <a:cubicBezTo>
                  <a:pt x="48089" y="4904997"/>
                  <a:pt x="0" y="4470950"/>
                  <a:pt x="0" y="4033091"/>
                </a:cubicBezTo>
                <a:cubicBezTo>
                  <a:pt x="0" y="3041447"/>
                  <a:pt x="256244" y="2323717"/>
                  <a:pt x="806494" y="1774439"/>
                </a:cubicBezTo>
                <a:cubicBezTo>
                  <a:pt x="1654425" y="926369"/>
                  <a:pt x="3134370" y="345630"/>
                  <a:pt x="5329206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49EC48E8-5C21-8AB6-D0E1-9624C73166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55960" y="6399515"/>
            <a:ext cx="1031238" cy="30736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4C19D78-3C50-56AE-9DEC-AA1603458C2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5011" y="3081247"/>
            <a:ext cx="4160520" cy="145390"/>
          </a:xfrm>
          <a:custGeom>
            <a:avLst/>
            <a:gdLst>
              <a:gd name="connsiteX0" fmla="*/ 0 w 2728912"/>
              <a:gd name="connsiteY0" fmla="*/ 0 h 768350"/>
              <a:gd name="connsiteX1" fmla="*/ 2728912 w 2728912"/>
              <a:gd name="connsiteY1" fmla="*/ 0 h 768350"/>
              <a:gd name="connsiteX2" fmla="*/ 2728912 w 2728912"/>
              <a:gd name="connsiteY2" fmla="*/ 768350 h 768350"/>
              <a:gd name="connsiteX3" fmla="*/ 0 w 2728912"/>
              <a:gd name="connsiteY3" fmla="*/ 768350 h 768350"/>
              <a:gd name="connsiteX4" fmla="*/ 0 w 2728912"/>
              <a:gd name="connsiteY4" fmla="*/ 0 h 768350"/>
              <a:gd name="connsiteX0" fmla="*/ 0 w 2728912"/>
              <a:gd name="connsiteY0" fmla="*/ 0 h 768350"/>
              <a:gd name="connsiteX1" fmla="*/ 2728912 w 2728912"/>
              <a:gd name="connsiteY1" fmla="*/ 0 h 768350"/>
              <a:gd name="connsiteX2" fmla="*/ 2728912 w 2728912"/>
              <a:gd name="connsiteY2" fmla="*/ 768350 h 768350"/>
              <a:gd name="connsiteX3" fmla="*/ 0 w 2728912"/>
              <a:gd name="connsiteY3" fmla="*/ 0 h 768350"/>
              <a:gd name="connsiteX0" fmla="*/ 0 w 2728912"/>
              <a:gd name="connsiteY0" fmla="*/ 0 h 0"/>
              <a:gd name="connsiteX1" fmla="*/ 2728912 w 2728912"/>
              <a:gd name="connsiteY1" fmla="*/ 0 h 0"/>
              <a:gd name="connsiteX2" fmla="*/ 0 w 2728912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28912">
                <a:moveTo>
                  <a:pt x="0" y="0"/>
                </a:moveTo>
                <a:lnTo>
                  <a:pt x="2728912" y="0"/>
                </a:lnTo>
                <a:lnTo>
                  <a:pt x="0" y="0"/>
                </a:lnTo>
                <a:close/>
              </a:path>
            </a:pathLst>
          </a:custGeom>
          <a:ln w="6350">
            <a:solidFill>
              <a:srgbClr val="264600"/>
            </a:solidFill>
          </a:ln>
        </p:spPr>
        <p:txBody>
          <a:bodyPr/>
          <a:lstStyle>
            <a:lvl1pPr>
              <a:defRPr sz="1200">
                <a:noFill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13E5814F-3E25-C553-0023-5A1250C547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798" y="2695873"/>
            <a:ext cx="4160838" cy="375920"/>
          </a:xfrm>
        </p:spPr>
        <p:txBody>
          <a:bodyPr/>
          <a:lstStyle>
            <a:lvl1pPr>
              <a:defRPr>
                <a:solidFill>
                  <a:srgbClr val="264600"/>
                </a:solidFill>
              </a:defRPr>
            </a:lvl1pPr>
          </a:lstStyle>
          <a:p>
            <a:pPr lvl="0"/>
            <a:r>
              <a:rPr lang="en-US" dirty="0"/>
              <a:t>Chapter 1</a:t>
            </a:r>
          </a:p>
        </p:txBody>
      </p:sp>
    </p:spTree>
    <p:extLst>
      <p:ext uri="{BB962C8B-B14F-4D97-AF65-F5344CB8AC3E}">
        <p14:creationId xmlns:p14="http://schemas.microsoft.com/office/powerpoint/2010/main" val="296614312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538390-44A4-453D-972A-27D940A685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EF6409-318C-437F-82C8-F0D7E1BD65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128016" rIns="0" bIns="0"/>
          <a:lstStyle/>
          <a:p>
            <a:pPr algn="r"/>
            <a:r>
              <a:rPr lang="en-GB" dirty="0"/>
              <a:t>Classification: INTERNAL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D2DB9EE-AC50-4E3C-AF58-A0032DF3B8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7695D00A-BA34-4D39-8C84-2534822D643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9E4E1FB-0AC6-4EF6-85D7-E7C69687BA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581958"/>
            <a:ext cx="11582400" cy="4666441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527432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_Two columns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46E92B3-BE16-3705-C71E-D9EB2E2F9BD8}"/>
              </a:ext>
            </a:extLst>
          </p:cNvPr>
          <p:cNvSpPr/>
          <p:nvPr userDrawn="1"/>
        </p:nvSpPr>
        <p:spPr>
          <a:xfrm flipV="1">
            <a:off x="0" y="0"/>
            <a:ext cx="12192000" cy="431202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53876BC-0069-4DEA-8531-12B084DB4F8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4800" y="1418730"/>
            <a:ext cx="5638800" cy="4357230"/>
          </a:xfrm>
          <a:prstGeom prst="roundRect">
            <a:avLst>
              <a:gd name="adj" fmla="val 3096"/>
            </a:avLst>
          </a:prstGeom>
          <a:solidFill>
            <a:schemeClr val="bg1"/>
          </a:solidFill>
          <a:ln>
            <a:solidFill>
              <a:schemeClr val="tx2"/>
            </a:solidFill>
          </a:ln>
          <a:effectLst/>
        </p:spPr>
        <p:txBody>
          <a:bodyPr lIns="182880" tIns="109728" rIns="182880" bIns="0" anchor="t"/>
          <a:lstStyle>
            <a:lvl1pPr>
              <a:defRPr sz="2200" b="1">
                <a:solidFill>
                  <a:schemeClr val="accent4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0C3BA70B-9A57-4C78-9121-14908D1B4D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48398" y="1418730"/>
            <a:ext cx="5638800" cy="4357230"/>
          </a:xfrm>
          <a:prstGeom prst="roundRect">
            <a:avLst>
              <a:gd name="adj" fmla="val 3608"/>
            </a:avLst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txBody>
          <a:bodyPr lIns="182880" tIns="109728" rIns="182880" bIns="0" anchor="t"/>
          <a:lstStyle>
            <a:lvl1pPr>
              <a:defRPr sz="2200" b="1">
                <a:solidFill>
                  <a:schemeClr val="accent5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3538390-44A4-453D-972A-27D940A685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EF6409-318C-437F-82C8-F0D7E1BD65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128016" rIns="0" bIns="0"/>
          <a:lstStyle/>
          <a:p>
            <a:pPr algn="r"/>
            <a:r>
              <a:rPr lang="en-GB" dirty="0"/>
              <a:t>Classification: INTERNAL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D2DB9EE-AC50-4E3C-AF58-A0032DF3B8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7695D00A-BA34-4D39-8C84-2534822D643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9E4E1FB-0AC6-4EF6-85D7-E7C69687BA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2195159"/>
            <a:ext cx="5638796" cy="3580801"/>
          </a:xfrm>
        </p:spPr>
        <p:txBody>
          <a:bodyPr lIns="182880" tIns="0" rIns="18288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72599A3-164A-44BE-AEF5-BDF02C58C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48398" y="2195159"/>
            <a:ext cx="5638796" cy="3580801"/>
          </a:xfrm>
        </p:spPr>
        <p:txBody>
          <a:bodyPr lIns="182880" tIns="0" rIns="18288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D606758-4385-4A20-BE7A-5EA8B7B92DC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04800" y="5890779"/>
            <a:ext cx="11582400" cy="3576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en-US" b="1" smtClean="0">
                <a:solidFill>
                  <a:schemeClr val="tx1"/>
                </a:solidFill>
              </a:defRPr>
            </a:lvl1pPr>
            <a:lvl2pPr algn="ctr">
              <a:defRPr lang="en-US" sz="1800" smtClean="0">
                <a:solidFill>
                  <a:schemeClr val="lt1"/>
                </a:solidFill>
              </a:defRPr>
            </a:lvl2pPr>
            <a:lvl3pPr algn="ctr">
              <a:defRPr lang="en-US" sz="1800" smtClean="0">
                <a:solidFill>
                  <a:schemeClr val="lt1"/>
                </a:solidFill>
              </a:defRPr>
            </a:lvl3pPr>
            <a:lvl4pPr algn="ctr">
              <a:defRPr lang="en-US" sz="1800" smtClean="0">
                <a:solidFill>
                  <a:schemeClr val="lt1"/>
                </a:solidFill>
              </a:defRPr>
            </a:lvl4pPr>
            <a:lvl5pPr algn="ctr">
              <a:defRPr lang="en-GB" sz="180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 dirty="0"/>
              <a:t>Takeaway messag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951253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346200" y="1650999"/>
            <a:ext cx="2944997" cy="376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5469" y="1650999"/>
            <a:ext cx="3072000" cy="376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3572C-12F5-47C0-A119-BE3602A6676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8051740" y="1650999"/>
            <a:ext cx="3072000" cy="376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Classification: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08300710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_Three columns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C3A35DE-8EDA-586F-4930-4007C1039FF1}"/>
              </a:ext>
            </a:extLst>
          </p:cNvPr>
          <p:cNvSpPr/>
          <p:nvPr userDrawn="1"/>
        </p:nvSpPr>
        <p:spPr>
          <a:xfrm flipV="1">
            <a:off x="0" y="0"/>
            <a:ext cx="12192000" cy="431202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53876BC-0069-4DEA-8531-12B084DB4F8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4800" y="1418730"/>
            <a:ext cx="3685032" cy="4357230"/>
          </a:xfrm>
          <a:prstGeom prst="roundRect">
            <a:avLst>
              <a:gd name="adj" fmla="val 3157"/>
            </a:avLst>
          </a:prstGeom>
          <a:solidFill>
            <a:schemeClr val="bg1"/>
          </a:solidFill>
          <a:ln>
            <a:solidFill>
              <a:schemeClr val="tx2"/>
            </a:solidFill>
          </a:ln>
          <a:effectLst/>
        </p:spPr>
        <p:txBody>
          <a:bodyPr lIns="182880" tIns="109728" rIns="182880" bIns="0" anchor="t"/>
          <a:lstStyle>
            <a:lvl1pPr>
              <a:defRPr sz="2200" b="1">
                <a:solidFill>
                  <a:schemeClr val="accent4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0C3BA70B-9A57-4C78-9121-14908D1B4D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53484" y="1418730"/>
            <a:ext cx="3685032" cy="4357230"/>
          </a:xfrm>
          <a:prstGeom prst="roundRect">
            <a:avLst>
              <a:gd name="adj" fmla="val 3743"/>
            </a:avLst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txBody>
          <a:bodyPr lIns="182880" tIns="109728" rIns="182880" bIns="0" anchor="t"/>
          <a:lstStyle>
            <a:lvl1pPr>
              <a:defRPr sz="2200" b="1">
                <a:solidFill>
                  <a:schemeClr val="accent5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C988A729-3F02-C10B-7D94-2ED633A602D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02168" y="1418730"/>
            <a:ext cx="3685032" cy="4357230"/>
          </a:xfrm>
          <a:prstGeom prst="roundRect">
            <a:avLst>
              <a:gd name="adj" fmla="val 3536"/>
            </a:avLst>
          </a:prstGeom>
          <a:solidFill>
            <a:schemeClr val="bg1"/>
          </a:solidFill>
          <a:ln>
            <a:solidFill>
              <a:schemeClr val="bg2"/>
            </a:solidFill>
          </a:ln>
          <a:effectLst/>
        </p:spPr>
        <p:txBody>
          <a:bodyPr lIns="182880" tIns="109728" rIns="182880" bIns="0" anchor="t"/>
          <a:lstStyle>
            <a:lvl1pPr>
              <a:defRPr sz="2200" b="1">
                <a:solidFill>
                  <a:schemeClr val="accent3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3538390-44A4-453D-972A-27D940A685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EF6409-318C-437F-82C8-F0D7E1BD65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128016" rIns="0" bIns="0"/>
          <a:lstStyle/>
          <a:p>
            <a:pPr algn="r"/>
            <a:r>
              <a:rPr lang="en-GB" dirty="0"/>
              <a:t>Classification: INTERNAL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D2DB9EE-AC50-4E3C-AF58-A0032DF3B8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7695D00A-BA34-4D39-8C84-2534822D643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9E4E1FB-0AC6-4EF6-85D7-E7C69687BA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2195159"/>
            <a:ext cx="3685032" cy="3584448"/>
          </a:xfrm>
        </p:spPr>
        <p:txBody>
          <a:bodyPr lIns="182880" tIns="0" rIns="18288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72599A3-164A-44BE-AEF5-BDF02C58C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53484" y="2195159"/>
            <a:ext cx="3685032" cy="3584448"/>
          </a:xfrm>
        </p:spPr>
        <p:txBody>
          <a:bodyPr lIns="182880" tIns="0" rIns="18288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D606758-4385-4A20-BE7A-5EA8B7B92DC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04800" y="5890779"/>
            <a:ext cx="11582400" cy="3576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en-US" b="1" smtClean="0">
                <a:solidFill>
                  <a:sysClr val="windowText" lastClr="000000"/>
                </a:solidFill>
              </a:defRPr>
            </a:lvl1pPr>
            <a:lvl2pPr algn="ctr">
              <a:defRPr lang="en-US" sz="1800" smtClean="0">
                <a:solidFill>
                  <a:schemeClr val="lt1"/>
                </a:solidFill>
              </a:defRPr>
            </a:lvl2pPr>
            <a:lvl3pPr algn="ctr">
              <a:defRPr lang="en-US" sz="1800" smtClean="0">
                <a:solidFill>
                  <a:schemeClr val="lt1"/>
                </a:solidFill>
              </a:defRPr>
            </a:lvl3pPr>
            <a:lvl4pPr algn="ctr">
              <a:defRPr lang="en-US" sz="1800" smtClean="0">
                <a:solidFill>
                  <a:schemeClr val="lt1"/>
                </a:solidFill>
              </a:defRPr>
            </a:lvl4pPr>
            <a:lvl5pPr algn="ctr">
              <a:defRPr lang="en-GB" sz="180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 dirty="0"/>
              <a:t>Takeaway messag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884E069B-4F75-1FBE-EBF5-0914BB88F03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02168" y="2195159"/>
            <a:ext cx="3685032" cy="3584448"/>
          </a:xfrm>
        </p:spPr>
        <p:txBody>
          <a:bodyPr lIns="182880" tIns="0" rIns="18288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767852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8_Four columns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0F50EB6-92FF-60E3-89D4-1344BAC4D68E}"/>
              </a:ext>
            </a:extLst>
          </p:cNvPr>
          <p:cNvSpPr/>
          <p:nvPr userDrawn="1"/>
        </p:nvSpPr>
        <p:spPr>
          <a:xfrm flipV="1">
            <a:off x="0" y="0"/>
            <a:ext cx="12192000" cy="431202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53876BC-0069-4DEA-8531-12B084DB4F8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4800" y="1418729"/>
            <a:ext cx="2697480" cy="4357229"/>
          </a:xfrm>
          <a:prstGeom prst="roundRect">
            <a:avLst>
              <a:gd name="adj" fmla="val 4308"/>
            </a:avLst>
          </a:prstGeom>
          <a:solidFill>
            <a:schemeClr val="bg1"/>
          </a:solidFill>
          <a:ln>
            <a:solidFill>
              <a:schemeClr val="tx2"/>
            </a:solidFill>
          </a:ln>
          <a:effectLst/>
        </p:spPr>
        <p:txBody>
          <a:bodyPr lIns="182880" tIns="109728" rIns="182880" bIns="0" anchor="t"/>
          <a:lstStyle>
            <a:lvl1pPr>
              <a:defRPr sz="2200" b="1">
                <a:solidFill>
                  <a:schemeClr val="accent4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0C3BA70B-9A57-4C78-9121-14908D1B4D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66440" y="1418729"/>
            <a:ext cx="2697480" cy="4357229"/>
          </a:xfrm>
          <a:prstGeom prst="roundRect">
            <a:avLst>
              <a:gd name="adj" fmla="val 4379"/>
            </a:avLst>
          </a:prstGeom>
          <a:solidFill>
            <a:schemeClr val="bg1"/>
          </a:solidFill>
          <a:ln>
            <a:solidFill>
              <a:schemeClr val="tx2"/>
            </a:solidFill>
          </a:ln>
          <a:effectLst/>
        </p:spPr>
        <p:txBody>
          <a:bodyPr lIns="182880" tIns="109728" rIns="182880" bIns="0" anchor="t"/>
          <a:lstStyle>
            <a:lvl1pPr>
              <a:defRPr sz="2200" b="1">
                <a:solidFill>
                  <a:schemeClr val="accent4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C988A729-3F02-C10B-7D94-2ED633A602D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28080" y="1418729"/>
            <a:ext cx="2697480" cy="4357229"/>
          </a:xfrm>
          <a:prstGeom prst="roundRect">
            <a:avLst>
              <a:gd name="adj" fmla="val 4308"/>
            </a:avLst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txBody>
          <a:bodyPr lIns="182880" tIns="109728" rIns="182880" bIns="0" anchor="t"/>
          <a:lstStyle>
            <a:lvl1pPr>
              <a:defRPr sz="2200" b="1">
                <a:solidFill>
                  <a:schemeClr val="accent5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69150430-0681-9C7A-A6F4-2BB74BC04E3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89720" y="1418729"/>
            <a:ext cx="2697480" cy="4357229"/>
          </a:xfrm>
          <a:prstGeom prst="roundRect">
            <a:avLst>
              <a:gd name="adj" fmla="val 4308"/>
            </a:avLst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txBody>
          <a:bodyPr lIns="182880" tIns="109728" rIns="182880" bIns="0" anchor="t"/>
          <a:lstStyle>
            <a:lvl1pPr>
              <a:defRPr sz="2200" b="1">
                <a:solidFill>
                  <a:schemeClr val="accent5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3538390-44A4-453D-972A-27D940A685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EF6409-318C-437F-82C8-F0D7E1BD65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128016" rIns="0" bIns="0"/>
          <a:lstStyle/>
          <a:p>
            <a:pPr algn="r"/>
            <a:r>
              <a:rPr lang="en-GB" dirty="0"/>
              <a:t>Classification: INTERNAL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D2DB9EE-AC50-4E3C-AF58-A0032DF3B8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7695D00A-BA34-4D39-8C84-2534822D643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9E4E1FB-0AC6-4EF6-85D7-E7C69687BA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2195159"/>
            <a:ext cx="2697480" cy="3584448"/>
          </a:xfrm>
        </p:spPr>
        <p:txBody>
          <a:bodyPr lIns="182880" tIns="0" rIns="18288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72599A3-164A-44BE-AEF5-BDF02C58C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66440" y="2195159"/>
            <a:ext cx="2697480" cy="3584448"/>
          </a:xfrm>
        </p:spPr>
        <p:txBody>
          <a:bodyPr lIns="182880" tIns="0" rIns="18288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D606758-4385-4A20-BE7A-5EA8B7B92DC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04800" y="5890779"/>
            <a:ext cx="11582400" cy="3576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en-US" b="1" smtClean="0">
                <a:solidFill>
                  <a:sysClr val="windowText" lastClr="000000"/>
                </a:solidFill>
              </a:defRPr>
            </a:lvl1pPr>
            <a:lvl2pPr algn="ctr">
              <a:defRPr lang="en-US" sz="1800" smtClean="0">
                <a:solidFill>
                  <a:schemeClr val="lt1"/>
                </a:solidFill>
              </a:defRPr>
            </a:lvl2pPr>
            <a:lvl3pPr algn="ctr">
              <a:defRPr lang="en-US" sz="1800" smtClean="0">
                <a:solidFill>
                  <a:schemeClr val="lt1"/>
                </a:solidFill>
              </a:defRPr>
            </a:lvl3pPr>
            <a:lvl4pPr algn="ctr">
              <a:defRPr lang="en-US" sz="1800" smtClean="0">
                <a:solidFill>
                  <a:schemeClr val="lt1"/>
                </a:solidFill>
              </a:defRPr>
            </a:lvl4pPr>
            <a:lvl5pPr algn="ctr">
              <a:defRPr lang="en-GB" sz="180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 dirty="0"/>
              <a:t>Takeaway message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884E069B-4F75-1FBE-EBF5-0914BB88F03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28080" y="2195159"/>
            <a:ext cx="2697480" cy="3584448"/>
          </a:xfrm>
        </p:spPr>
        <p:txBody>
          <a:bodyPr lIns="182880" tIns="0" rIns="18288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4137E11D-146A-8F38-0A79-C939E831C84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189720" y="2195159"/>
            <a:ext cx="2697480" cy="3584448"/>
          </a:xfrm>
        </p:spPr>
        <p:txBody>
          <a:bodyPr lIns="182880" tIns="0" rIns="18288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780730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9_Four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538390-44A4-453D-972A-27D940A685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EF6409-318C-437F-82C8-F0D7E1BD65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128016" rIns="0" bIns="0"/>
          <a:lstStyle/>
          <a:p>
            <a:pPr algn="r"/>
            <a:r>
              <a:rPr lang="en-GB" dirty="0"/>
              <a:t>Classification: INTERNAL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D2DB9EE-AC50-4E3C-AF58-A0032DF3B8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7695D00A-BA34-4D39-8C84-2534822D643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9E4E1FB-0AC6-4EF6-85D7-E7C69687BA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4074293"/>
            <a:ext cx="2697480" cy="2174106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72599A3-164A-44BE-AEF5-BDF02C58C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66440" y="4074293"/>
            <a:ext cx="2697480" cy="2174106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884E069B-4F75-1FBE-EBF5-0914BB88F03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28080" y="4074293"/>
            <a:ext cx="2697480" cy="2174106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4137E11D-146A-8F38-0A79-C939E831C84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189720" y="4074293"/>
            <a:ext cx="2697480" cy="2174106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 dirty="0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75F44FD6-FD35-A038-D4E9-A3FEA287D4B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04800" y="1581958"/>
            <a:ext cx="2697480" cy="2269180"/>
          </a:xfrm>
          <a:prstGeom prst="roundRect">
            <a:avLst>
              <a:gd name="adj" fmla="val 3347"/>
            </a:avLst>
          </a:prstGeom>
          <a:pattFill prst="ltVert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19050">
            <a:solidFill>
              <a:schemeClr val="bg2"/>
            </a:solidFill>
          </a:ln>
        </p:spPr>
        <p:txBody>
          <a:bodyPr wrap="square">
            <a:noAutofit/>
          </a:bodyPr>
          <a:lstStyle/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8980A476-A9E0-928A-7FB5-B9755B811008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266440" y="1581958"/>
            <a:ext cx="2697480" cy="2269180"/>
          </a:xfrm>
          <a:prstGeom prst="roundRect">
            <a:avLst>
              <a:gd name="adj" fmla="val 3347"/>
            </a:avLst>
          </a:prstGeom>
          <a:pattFill prst="ltVert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19050">
            <a:solidFill>
              <a:schemeClr val="tx2"/>
            </a:solidFill>
          </a:ln>
        </p:spPr>
        <p:txBody>
          <a:bodyPr wrap="square">
            <a:noAutofit/>
          </a:bodyPr>
          <a:lstStyle/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9F79CD7F-EE57-0962-F441-E7DA5E102A48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228080" y="1581958"/>
            <a:ext cx="2697480" cy="2269180"/>
          </a:xfrm>
          <a:prstGeom prst="roundRect">
            <a:avLst>
              <a:gd name="adj" fmla="val 3347"/>
            </a:avLst>
          </a:prstGeom>
          <a:pattFill prst="ltVert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19050">
            <a:solidFill>
              <a:schemeClr val="accent1"/>
            </a:solidFill>
          </a:ln>
        </p:spPr>
        <p:txBody>
          <a:bodyPr wrap="square">
            <a:noAutofit/>
          </a:bodyPr>
          <a:lstStyle/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F68D5809-011D-6528-3E9C-D29E2AD1692A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9189720" y="1581958"/>
            <a:ext cx="2697480" cy="2269180"/>
          </a:xfrm>
          <a:prstGeom prst="roundRect">
            <a:avLst>
              <a:gd name="adj" fmla="val 3347"/>
            </a:avLst>
          </a:prstGeom>
          <a:pattFill prst="ltVert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19050">
            <a:solidFill>
              <a:schemeClr val="accent2"/>
            </a:solidFill>
          </a:ln>
        </p:spPr>
        <p:txBody>
          <a:bodyPr wrap="square">
            <a:noAutofit/>
          </a:bodyPr>
          <a:lstStyle/>
          <a:p>
            <a:r>
              <a:rPr lang="ru-RU"/>
              <a:t>Вставка рисун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24095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hoto and four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0989D2E6-B427-2328-DE25-B085CBC3C9B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-1"/>
            <a:ext cx="12192000" cy="5311419"/>
          </a:xfrm>
          <a:pattFill prst="ltVert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/>
            </a:lvl1pPr>
          </a:lstStyle>
          <a:p>
            <a:r>
              <a:rPr lang="ru-RU"/>
              <a:t>Вставка рисунка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3538390-44A4-453D-972A-27D940A685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228601"/>
            <a:ext cx="11582400" cy="777240"/>
          </a:xfrm>
        </p:spPr>
        <p:txBody>
          <a:bodyPr lIns="0" tIns="0" rIns="0" bIns="0"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EF6409-318C-437F-82C8-F0D7E1BD65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128016" rIns="0" bIns="0"/>
          <a:lstStyle/>
          <a:p>
            <a:pPr algn="r"/>
            <a:r>
              <a:rPr lang="en-GB" dirty="0"/>
              <a:t>Classification: INTERNAL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D2DB9EE-AC50-4E3C-AF58-A0032DF3B8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7695D00A-BA34-4D39-8C84-2534822D643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9E4E1FB-0AC6-4EF6-85D7-E7C69687BA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3668633"/>
            <a:ext cx="2697480" cy="2269180"/>
          </a:xfrm>
          <a:prstGeom prst="roundRect">
            <a:avLst>
              <a:gd name="adj" fmla="val 3907"/>
            </a:avLst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lIns="137160" tIns="137160" rIns="137160" bIns="13716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53876BC-0069-4DEA-8531-12B084DB4F8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4800" y="1403960"/>
            <a:ext cx="5791200" cy="1176482"/>
          </a:xfrm>
          <a:noFill/>
          <a:effectLst/>
        </p:spPr>
        <p:txBody>
          <a:bodyPr bIns="137160" anchor="t"/>
          <a:lstStyle>
            <a:lvl1pPr>
              <a:defRPr sz="2200"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A1FD1687-F3A4-3C7A-4B67-21668634ABD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266440" y="3668633"/>
            <a:ext cx="2697480" cy="2269180"/>
          </a:xfrm>
          <a:prstGeom prst="roundRect">
            <a:avLst>
              <a:gd name="adj" fmla="val 3907"/>
            </a:avLst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lIns="137160" tIns="137160" rIns="137160" bIns="13716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 dirty="0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052FBD2B-2CEC-7D2F-365F-9EC5DC2134F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28080" y="3668633"/>
            <a:ext cx="2697480" cy="2269180"/>
          </a:xfrm>
          <a:prstGeom prst="roundRect">
            <a:avLst>
              <a:gd name="adj" fmla="val 3907"/>
            </a:avLst>
          </a:prstGeom>
          <a:solidFill>
            <a:schemeClr val="bg1"/>
          </a:solidFill>
          <a:ln>
            <a:solidFill>
              <a:schemeClr val="bg2"/>
            </a:solidFill>
          </a:ln>
        </p:spPr>
        <p:txBody>
          <a:bodyPr lIns="137160" tIns="137160" rIns="137160" bIns="13716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8E08B3B6-3D7C-8A65-9A35-1F844051CFE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189720" y="3668633"/>
            <a:ext cx="2697480" cy="2269180"/>
          </a:xfrm>
          <a:prstGeom prst="roundRect">
            <a:avLst>
              <a:gd name="adj" fmla="val 3907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lIns="137160" tIns="137160" rIns="137160" bIns="13716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43145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har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F1294B04-AB38-3AB2-FA75-2A76D5411B72}"/>
              </a:ext>
            </a:extLst>
          </p:cNvPr>
          <p:cNvSpPr/>
          <p:nvPr userDrawn="1"/>
        </p:nvSpPr>
        <p:spPr>
          <a:xfrm flipH="1">
            <a:off x="0" y="0"/>
            <a:ext cx="7588481" cy="68580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531EBD-32EE-BE19-6E8B-E4CA8A1288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28601"/>
            <a:ext cx="6695440" cy="77724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4EBCFAB-32A7-2282-9090-E52467654DE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GB" dirty="0"/>
              <a:t>Classification: INTERNAL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3F0C4C-540F-EF3C-0DCD-F8A673AFC01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95D00A-BA34-4D39-8C84-2534822D643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66EB644-FD96-ACF3-B9F9-1F2198ACFB2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847635" y="609600"/>
            <a:ext cx="4039566" cy="2133600"/>
          </a:xfrm>
        </p:spPr>
        <p:txBody>
          <a:bodyPr/>
          <a:lstStyle>
            <a:lvl1pPr>
              <a:defRPr sz="2200" b="1"/>
            </a:lvl1pPr>
            <a:lvl2pPr>
              <a:defRPr sz="2200" b="1"/>
            </a:lvl2pPr>
            <a:lvl3pPr>
              <a:defRPr sz="2200" b="1"/>
            </a:lvl3pPr>
            <a:lvl4pPr>
              <a:defRPr sz="2200" b="1"/>
            </a:lvl4pPr>
            <a:lvl5pPr>
              <a:defRPr sz="2200" b="1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994A995B-EA21-3ADA-2E8D-3760398EDC49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304800" y="1581959"/>
            <a:ext cx="6695440" cy="4666441"/>
          </a:xfrm>
          <a:pattFill prst="ltVert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r>
              <a:rPr lang="ru-RU"/>
              <a:t>Вставка диаграммы</a:t>
            </a:r>
            <a:endParaRPr lang="en-US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A68E0E9-677E-6DED-6288-E31F523092E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47635" y="3352800"/>
            <a:ext cx="4039565" cy="1218321"/>
          </a:xfrm>
        </p:spPr>
        <p:txBody>
          <a:bodyPr/>
          <a:lstStyle>
            <a:lvl1pPr>
              <a:defRPr sz="36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85%</a:t>
            </a:r>
            <a:br>
              <a:rPr lang="en-US" dirty="0"/>
            </a:br>
            <a:endParaRPr lang="en-US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3110077-9897-FABA-8085-EE4D604930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47635" y="4841197"/>
            <a:ext cx="4039565" cy="1407203"/>
          </a:xfrm>
        </p:spPr>
        <p:txBody>
          <a:bodyPr/>
          <a:lstStyle>
            <a:lvl1pPr>
              <a:defRPr sz="36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85%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133201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Big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531EBD-32EE-BE19-6E8B-E4CA8A1288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28601"/>
            <a:ext cx="5376672" cy="77724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4EBCFAB-32A7-2282-9090-E52467654DE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GB"/>
              <a:t>Classification: INTERNAL USE ONLY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3F0C4C-540F-EF3C-0DCD-F8A673AFC01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95D00A-BA34-4D39-8C84-2534822D643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66EB644-FD96-ACF3-B9F9-1F2198ACFB2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2849878"/>
            <a:ext cx="5376863" cy="339852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808FEB12-19C8-406F-D740-46DEBBE4B4A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604000" y="0"/>
            <a:ext cx="5588000" cy="6858000"/>
          </a:xfrm>
          <a:custGeom>
            <a:avLst/>
            <a:gdLst>
              <a:gd name="connsiteX0" fmla="*/ 4692919 w 5588000"/>
              <a:gd name="connsiteY0" fmla="*/ 6643760 h 6858000"/>
              <a:gd name="connsiteX1" fmla="*/ 4727910 w 5588000"/>
              <a:gd name="connsiteY1" fmla="*/ 6643760 h 6858000"/>
              <a:gd name="connsiteX2" fmla="*/ 4744838 w 5588000"/>
              <a:gd name="connsiteY2" fmla="*/ 6658037 h 6858000"/>
              <a:gd name="connsiteX3" fmla="*/ 4712475 w 5588000"/>
              <a:gd name="connsiteY3" fmla="*/ 6681001 h 6858000"/>
              <a:gd name="connsiteX4" fmla="*/ 4679377 w 5588000"/>
              <a:gd name="connsiteY4" fmla="*/ 6662180 h 6858000"/>
              <a:gd name="connsiteX5" fmla="*/ 4692919 w 5588000"/>
              <a:gd name="connsiteY5" fmla="*/ 6643760 h 6858000"/>
              <a:gd name="connsiteX6" fmla="*/ 5243574 w 5588000"/>
              <a:gd name="connsiteY6" fmla="*/ 6579035 h 6858000"/>
              <a:gd name="connsiteX7" fmla="*/ 5243574 w 5588000"/>
              <a:gd name="connsiteY7" fmla="*/ 6602733 h 6858000"/>
              <a:gd name="connsiteX8" fmla="*/ 5224018 w 5588000"/>
              <a:gd name="connsiteY8" fmla="*/ 6612511 h 6858000"/>
              <a:gd name="connsiteX9" fmla="*/ 5207848 w 5588000"/>
              <a:gd name="connsiteY9" fmla="*/ 6598212 h 6858000"/>
              <a:gd name="connsiteX10" fmla="*/ 5243574 w 5588000"/>
              <a:gd name="connsiteY10" fmla="*/ 6579035 h 6858000"/>
              <a:gd name="connsiteX11" fmla="*/ 4850835 w 5588000"/>
              <a:gd name="connsiteY11" fmla="*/ 6532751 h 6858000"/>
              <a:gd name="connsiteX12" fmla="*/ 4871126 w 5588000"/>
              <a:gd name="connsiteY12" fmla="*/ 6555692 h 6858000"/>
              <a:gd name="connsiteX13" fmla="*/ 4827114 w 5588000"/>
              <a:gd name="connsiteY13" fmla="*/ 6555692 h 6858000"/>
              <a:gd name="connsiteX14" fmla="*/ 4850835 w 5588000"/>
              <a:gd name="connsiteY14" fmla="*/ 6532751 h 6858000"/>
              <a:gd name="connsiteX15" fmla="*/ 4715125 w 5588000"/>
              <a:gd name="connsiteY15" fmla="*/ 6528253 h 6858000"/>
              <a:gd name="connsiteX16" fmla="*/ 4734302 w 5588000"/>
              <a:gd name="connsiteY16" fmla="*/ 6547808 h 6858000"/>
              <a:gd name="connsiteX17" fmla="*/ 4714368 w 5588000"/>
              <a:gd name="connsiteY17" fmla="*/ 6567364 h 6858000"/>
              <a:gd name="connsiteX18" fmla="*/ 4695570 w 5588000"/>
              <a:gd name="connsiteY18" fmla="*/ 6547808 h 6858000"/>
              <a:gd name="connsiteX19" fmla="*/ 4715125 w 5588000"/>
              <a:gd name="connsiteY19" fmla="*/ 6528253 h 6858000"/>
              <a:gd name="connsiteX20" fmla="*/ 4361988 w 5588000"/>
              <a:gd name="connsiteY20" fmla="*/ 6508674 h 6858000"/>
              <a:gd name="connsiteX21" fmla="*/ 4411657 w 5588000"/>
              <a:gd name="connsiteY21" fmla="*/ 6636966 h 6858000"/>
              <a:gd name="connsiteX22" fmla="*/ 4407893 w 5588000"/>
              <a:gd name="connsiteY22" fmla="*/ 6645987 h 6858000"/>
              <a:gd name="connsiteX23" fmla="*/ 4375530 w 5588000"/>
              <a:gd name="connsiteY23" fmla="*/ 6678350 h 6858000"/>
              <a:gd name="connsiteX24" fmla="*/ 4358224 w 5588000"/>
              <a:gd name="connsiteY24" fmla="*/ 6676100 h 6858000"/>
              <a:gd name="connsiteX25" fmla="*/ 4352589 w 5588000"/>
              <a:gd name="connsiteY25" fmla="*/ 6701669 h 6858000"/>
              <a:gd name="connsiteX26" fmla="*/ 4381922 w 5588000"/>
              <a:gd name="connsiteY26" fmla="*/ 6705433 h 6858000"/>
              <a:gd name="connsiteX27" fmla="*/ 4438362 w 5588000"/>
              <a:gd name="connsiteY27" fmla="*/ 6664050 h 6858000"/>
              <a:gd name="connsiteX28" fmla="*/ 4502308 w 5588000"/>
              <a:gd name="connsiteY28" fmla="*/ 6508674 h 6858000"/>
              <a:gd name="connsiteX29" fmla="*/ 4502286 w 5588000"/>
              <a:gd name="connsiteY29" fmla="*/ 6508674 h 6858000"/>
              <a:gd name="connsiteX30" fmla="*/ 4465045 w 5588000"/>
              <a:gd name="connsiteY30" fmla="*/ 6508674 h 6858000"/>
              <a:gd name="connsiteX31" fmla="*/ 4440968 w 5588000"/>
              <a:gd name="connsiteY31" fmla="*/ 6571127 h 6858000"/>
              <a:gd name="connsiteX32" fmla="*/ 4433818 w 5588000"/>
              <a:gd name="connsiteY32" fmla="*/ 6593334 h 6858000"/>
              <a:gd name="connsiteX33" fmla="*/ 4428183 w 5588000"/>
              <a:gd name="connsiteY33" fmla="*/ 6572263 h 6858000"/>
              <a:gd name="connsiteX34" fmla="*/ 4404864 w 5588000"/>
              <a:gd name="connsiteY34" fmla="*/ 6508674 h 6858000"/>
              <a:gd name="connsiteX35" fmla="*/ 5231925 w 5588000"/>
              <a:gd name="connsiteY35" fmla="*/ 6505690 h 6858000"/>
              <a:gd name="connsiteX36" fmla="*/ 5173993 w 5588000"/>
              <a:gd name="connsiteY36" fmla="*/ 6521482 h 6858000"/>
              <a:gd name="connsiteX37" fmla="*/ 5183771 w 5588000"/>
              <a:gd name="connsiteY37" fmla="*/ 6545180 h 6858000"/>
              <a:gd name="connsiteX38" fmla="*/ 5220655 w 5588000"/>
              <a:gd name="connsiteY38" fmla="*/ 6533130 h 6858000"/>
              <a:gd name="connsiteX39" fmla="*/ 5243574 w 5588000"/>
              <a:gd name="connsiteY39" fmla="*/ 6551194 h 6858000"/>
              <a:gd name="connsiteX40" fmla="*/ 5243574 w 5588000"/>
              <a:gd name="connsiteY40" fmla="*/ 6554579 h 6858000"/>
              <a:gd name="connsiteX41" fmla="*/ 5167957 w 5588000"/>
              <a:gd name="connsiteY41" fmla="*/ 6603869 h 6858000"/>
              <a:gd name="connsiteX42" fmla="*/ 5208204 w 5588000"/>
              <a:gd name="connsiteY42" fmla="*/ 6639595 h 6858000"/>
              <a:gd name="connsiteX43" fmla="*/ 5244710 w 5588000"/>
              <a:gd name="connsiteY43" fmla="*/ 6626810 h 6858000"/>
              <a:gd name="connsiteX44" fmla="*/ 5244710 w 5588000"/>
              <a:gd name="connsiteY44" fmla="*/ 6636967 h 6858000"/>
              <a:gd name="connsiteX45" fmla="*/ 5282329 w 5588000"/>
              <a:gd name="connsiteY45" fmla="*/ 6636967 h 6858000"/>
              <a:gd name="connsiteX46" fmla="*/ 5282351 w 5588000"/>
              <a:gd name="connsiteY46" fmla="*/ 6636989 h 6858000"/>
              <a:gd name="connsiteX47" fmla="*/ 5282351 w 5588000"/>
              <a:gd name="connsiteY47" fmla="*/ 6545937 h 6858000"/>
              <a:gd name="connsiteX48" fmla="*/ 5231925 w 5588000"/>
              <a:gd name="connsiteY48" fmla="*/ 6505690 h 6858000"/>
              <a:gd name="connsiteX49" fmla="*/ 5012380 w 5588000"/>
              <a:gd name="connsiteY49" fmla="*/ 6505667 h 6858000"/>
              <a:gd name="connsiteX50" fmla="*/ 4968369 w 5588000"/>
              <a:gd name="connsiteY50" fmla="*/ 6519966 h 6858000"/>
              <a:gd name="connsiteX51" fmla="*/ 4968369 w 5588000"/>
              <a:gd name="connsiteY51" fmla="*/ 6508674 h 6858000"/>
              <a:gd name="connsiteX52" fmla="*/ 4929614 w 5588000"/>
              <a:gd name="connsiteY52" fmla="*/ 6508674 h 6858000"/>
              <a:gd name="connsiteX53" fmla="*/ 4929614 w 5588000"/>
              <a:gd name="connsiteY53" fmla="*/ 6636944 h 6858000"/>
              <a:gd name="connsiteX54" fmla="*/ 4969505 w 5588000"/>
              <a:gd name="connsiteY54" fmla="*/ 6636944 h 6858000"/>
              <a:gd name="connsiteX55" fmla="*/ 4969505 w 5588000"/>
              <a:gd name="connsiteY55" fmla="*/ 6546672 h 6858000"/>
              <a:gd name="connsiteX56" fmla="*/ 4993938 w 5588000"/>
              <a:gd name="connsiteY56" fmla="*/ 6535758 h 6858000"/>
              <a:gd name="connsiteX57" fmla="*/ 5012737 w 5588000"/>
              <a:gd name="connsiteY57" fmla="*/ 6554578 h 6858000"/>
              <a:gd name="connsiteX58" fmla="*/ 5012737 w 5588000"/>
              <a:gd name="connsiteY58" fmla="*/ 6636966 h 6858000"/>
              <a:gd name="connsiteX59" fmla="*/ 5052628 w 5588000"/>
              <a:gd name="connsiteY59" fmla="*/ 6636966 h 6858000"/>
              <a:gd name="connsiteX60" fmla="*/ 5052628 w 5588000"/>
              <a:gd name="connsiteY60" fmla="*/ 6636944 h 6858000"/>
              <a:gd name="connsiteX61" fmla="*/ 5052628 w 5588000"/>
              <a:gd name="connsiteY61" fmla="*/ 6545536 h 6858000"/>
              <a:gd name="connsiteX62" fmla="*/ 5012380 w 5588000"/>
              <a:gd name="connsiteY62" fmla="*/ 6505667 h 6858000"/>
              <a:gd name="connsiteX63" fmla="*/ 4852350 w 5588000"/>
              <a:gd name="connsiteY63" fmla="*/ 6505667 h 6858000"/>
              <a:gd name="connsiteX64" fmla="*/ 4784662 w 5588000"/>
              <a:gd name="connsiteY64" fmla="*/ 6572998 h 6858000"/>
              <a:gd name="connsiteX65" fmla="*/ 4849343 w 5588000"/>
              <a:gd name="connsiteY65" fmla="*/ 6639594 h 6858000"/>
              <a:gd name="connsiteX66" fmla="*/ 4906896 w 5588000"/>
              <a:gd name="connsiteY66" fmla="*/ 6624916 h 6858000"/>
              <a:gd name="connsiteX67" fmla="*/ 4896361 w 5588000"/>
              <a:gd name="connsiteY67" fmla="*/ 6601218 h 6858000"/>
              <a:gd name="connsiteX68" fmla="*/ 4863620 w 5588000"/>
              <a:gd name="connsiteY68" fmla="*/ 6610996 h 6858000"/>
              <a:gd name="connsiteX69" fmla="*/ 4826758 w 5588000"/>
              <a:gd name="connsiteY69" fmla="*/ 6581284 h 6858000"/>
              <a:gd name="connsiteX70" fmla="*/ 4911774 w 5588000"/>
              <a:gd name="connsiteY70" fmla="*/ 6581284 h 6858000"/>
              <a:gd name="connsiteX71" fmla="*/ 4912152 w 5588000"/>
              <a:gd name="connsiteY71" fmla="*/ 6568120 h 6858000"/>
              <a:gd name="connsiteX72" fmla="*/ 4912175 w 5588000"/>
              <a:gd name="connsiteY72" fmla="*/ 6568120 h 6858000"/>
              <a:gd name="connsiteX73" fmla="*/ 4852350 w 5588000"/>
              <a:gd name="connsiteY73" fmla="*/ 6505667 h 6858000"/>
              <a:gd name="connsiteX74" fmla="*/ 4593315 w 5588000"/>
              <a:gd name="connsiteY74" fmla="*/ 6505667 h 6858000"/>
              <a:gd name="connsiteX75" fmla="*/ 4549304 w 5588000"/>
              <a:gd name="connsiteY75" fmla="*/ 6519966 h 6858000"/>
              <a:gd name="connsiteX76" fmla="*/ 4549304 w 5588000"/>
              <a:gd name="connsiteY76" fmla="*/ 6508674 h 6858000"/>
              <a:gd name="connsiteX77" fmla="*/ 4510549 w 5588000"/>
              <a:gd name="connsiteY77" fmla="*/ 6508674 h 6858000"/>
              <a:gd name="connsiteX78" fmla="*/ 4510549 w 5588000"/>
              <a:gd name="connsiteY78" fmla="*/ 6636944 h 6858000"/>
              <a:gd name="connsiteX79" fmla="*/ 4550418 w 5588000"/>
              <a:gd name="connsiteY79" fmla="*/ 6636944 h 6858000"/>
              <a:gd name="connsiteX80" fmla="*/ 4550418 w 5588000"/>
              <a:gd name="connsiteY80" fmla="*/ 6546672 h 6858000"/>
              <a:gd name="connsiteX81" fmla="*/ 4574873 w 5588000"/>
              <a:gd name="connsiteY81" fmla="*/ 6535758 h 6858000"/>
              <a:gd name="connsiteX82" fmla="*/ 4593672 w 5588000"/>
              <a:gd name="connsiteY82" fmla="*/ 6554578 h 6858000"/>
              <a:gd name="connsiteX83" fmla="*/ 4593672 w 5588000"/>
              <a:gd name="connsiteY83" fmla="*/ 6636966 h 6858000"/>
              <a:gd name="connsiteX84" fmla="*/ 4633563 w 5588000"/>
              <a:gd name="connsiteY84" fmla="*/ 6636966 h 6858000"/>
              <a:gd name="connsiteX85" fmla="*/ 4633585 w 5588000"/>
              <a:gd name="connsiteY85" fmla="*/ 6636944 h 6858000"/>
              <a:gd name="connsiteX86" fmla="*/ 4633585 w 5588000"/>
              <a:gd name="connsiteY86" fmla="*/ 6545536 h 6858000"/>
              <a:gd name="connsiteX87" fmla="*/ 4593315 w 5588000"/>
              <a:gd name="connsiteY87" fmla="*/ 6505667 h 6858000"/>
              <a:gd name="connsiteX88" fmla="*/ 4716618 w 5588000"/>
              <a:gd name="connsiteY88" fmla="*/ 6505267 h 6858000"/>
              <a:gd name="connsiteX89" fmla="*/ 4656815 w 5588000"/>
              <a:gd name="connsiteY89" fmla="*/ 6547029 h 6858000"/>
              <a:gd name="connsiteX90" fmla="*/ 4674121 w 5588000"/>
              <a:gd name="connsiteY90" fmla="*/ 6578256 h 6858000"/>
              <a:gd name="connsiteX91" fmla="*/ 4649665 w 5588000"/>
              <a:gd name="connsiteY91" fmla="*/ 6609861 h 6858000"/>
              <a:gd name="connsiteX92" fmla="*/ 4656058 w 5588000"/>
              <a:gd name="connsiteY92" fmla="*/ 6629795 h 6858000"/>
              <a:gd name="connsiteX93" fmla="*/ 4667729 w 5588000"/>
              <a:gd name="connsiteY93" fmla="*/ 6638081 h 6858000"/>
              <a:gd name="connsiteX94" fmla="*/ 4647037 w 5588000"/>
              <a:gd name="connsiteY94" fmla="*/ 6667437 h 6858000"/>
              <a:gd name="connsiteX95" fmla="*/ 4710604 w 5588000"/>
              <a:gd name="connsiteY95" fmla="*/ 6707684 h 6858000"/>
              <a:gd name="connsiteX96" fmla="*/ 4784706 w 5588000"/>
              <a:gd name="connsiteY96" fmla="*/ 6652759 h 6858000"/>
              <a:gd name="connsiteX97" fmla="*/ 4784706 w 5588000"/>
              <a:gd name="connsiteY97" fmla="*/ 6652736 h 6858000"/>
              <a:gd name="connsiteX98" fmla="*/ 4737666 w 5588000"/>
              <a:gd name="connsiteY98" fmla="*/ 6610240 h 6858000"/>
              <a:gd name="connsiteX99" fmla="*/ 4706060 w 5588000"/>
              <a:gd name="connsiteY99" fmla="*/ 6610240 h 6858000"/>
              <a:gd name="connsiteX100" fmla="*/ 4686505 w 5588000"/>
              <a:gd name="connsiteY100" fmla="*/ 6598947 h 6858000"/>
              <a:gd name="connsiteX101" fmla="*/ 4696283 w 5588000"/>
              <a:gd name="connsiteY101" fmla="*/ 6588033 h 6858000"/>
              <a:gd name="connsiteX102" fmla="*/ 4712096 w 5588000"/>
              <a:gd name="connsiteY102" fmla="*/ 6589904 h 6858000"/>
              <a:gd name="connsiteX103" fmla="*/ 4773057 w 5588000"/>
              <a:gd name="connsiteY103" fmla="*/ 6545893 h 6858000"/>
              <a:gd name="connsiteX104" fmla="*/ 4716618 w 5588000"/>
              <a:gd name="connsiteY104" fmla="*/ 6505267 h 6858000"/>
              <a:gd name="connsiteX105" fmla="*/ 4308733 w 5588000"/>
              <a:gd name="connsiteY105" fmla="*/ 6503396 h 6858000"/>
              <a:gd name="connsiteX106" fmla="*/ 4255322 w 5588000"/>
              <a:gd name="connsiteY106" fmla="*/ 6546271 h 6858000"/>
              <a:gd name="connsiteX107" fmla="*/ 4285035 w 5588000"/>
              <a:gd name="connsiteY107" fmla="*/ 6583156 h 6858000"/>
              <a:gd name="connsiteX108" fmla="*/ 4312119 w 5588000"/>
              <a:gd name="connsiteY108" fmla="*/ 6589548 h 6858000"/>
              <a:gd name="connsiteX109" fmla="*/ 4321540 w 5588000"/>
              <a:gd name="connsiteY109" fmla="*/ 6599326 h 6858000"/>
              <a:gd name="connsiteX110" fmla="*/ 4299334 w 5588000"/>
              <a:gd name="connsiteY110" fmla="*/ 6611754 h 6858000"/>
              <a:gd name="connsiteX111" fmla="*/ 4262851 w 5588000"/>
              <a:gd name="connsiteY111" fmla="*/ 6603112 h 6858000"/>
              <a:gd name="connsiteX112" fmla="*/ 4251937 w 5588000"/>
              <a:gd name="connsiteY112" fmla="*/ 6629060 h 6858000"/>
              <a:gd name="connsiteX113" fmla="*/ 4304991 w 5588000"/>
              <a:gd name="connsiteY113" fmla="*/ 6639217 h 6858000"/>
              <a:gd name="connsiteX114" fmla="*/ 4361431 w 5588000"/>
              <a:gd name="connsiteY114" fmla="*/ 6595962 h 6858000"/>
              <a:gd name="connsiteX115" fmla="*/ 4361386 w 5588000"/>
              <a:gd name="connsiteY115" fmla="*/ 6595962 h 6858000"/>
              <a:gd name="connsiteX116" fmla="*/ 4327910 w 5588000"/>
              <a:gd name="connsiteY116" fmla="*/ 6555693 h 6858000"/>
              <a:gd name="connsiteX117" fmla="*/ 4303454 w 5588000"/>
              <a:gd name="connsiteY117" fmla="*/ 6550058 h 6858000"/>
              <a:gd name="connsiteX118" fmla="*/ 4295547 w 5588000"/>
              <a:gd name="connsiteY118" fmla="*/ 6540659 h 6858000"/>
              <a:gd name="connsiteX119" fmla="*/ 4313989 w 5588000"/>
              <a:gd name="connsiteY119" fmla="*/ 6529745 h 6858000"/>
              <a:gd name="connsiteX120" fmla="*/ 4343345 w 5588000"/>
              <a:gd name="connsiteY120" fmla="*/ 6535380 h 6858000"/>
              <a:gd name="connsiteX121" fmla="*/ 4353502 w 5588000"/>
              <a:gd name="connsiteY121" fmla="*/ 6509410 h 6858000"/>
              <a:gd name="connsiteX122" fmla="*/ 4308733 w 5588000"/>
              <a:gd name="connsiteY122" fmla="*/ 6503396 h 6858000"/>
              <a:gd name="connsiteX123" fmla="*/ 5124949 w 5588000"/>
              <a:gd name="connsiteY123" fmla="*/ 6469184 h 6858000"/>
              <a:gd name="connsiteX124" fmla="*/ 5085080 w 5588000"/>
              <a:gd name="connsiteY124" fmla="*/ 6480476 h 6858000"/>
              <a:gd name="connsiteX125" fmla="*/ 5085080 w 5588000"/>
              <a:gd name="connsiteY125" fmla="*/ 6508674 h 6858000"/>
              <a:gd name="connsiteX126" fmla="*/ 5064767 w 5588000"/>
              <a:gd name="connsiteY126" fmla="*/ 6508674 h 6858000"/>
              <a:gd name="connsiteX127" fmla="*/ 5064767 w 5588000"/>
              <a:gd name="connsiteY127" fmla="*/ 6534266 h 6858000"/>
              <a:gd name="connsiteX128" fmla="*/ 5085080 w 5588000"/>
              <a:gd name="connsiteY128" fmla="*/ 6534266 h 6858000"/>
              <a:gd name="connsiteX129" fmla="*/ 5085080 w 5588000"/>
              <a:gd name="connsiteY129" fmla="*/ 6601597 h 6858000"/>
              <a:gd name="connsiteX130" fmla="*/ 5130584 w 5588000"/>
              <a:gd name="connsiteY130" fmla="*/ 6639595 h 6858000"/>
              <a:gd name="connsiteX131" fmla="*/ 5159939 w 5588000"/>
              <a:gd name="connsiteY131" fmla="*/ 6636588 h 6858000"/>
              <a:gd name="connsiteX132" fmla="*/ 5157289 w 5588000"/>
              <a:gd name="connsiteY132" fmla="*/ 6610617 h 6858000"/>
              <a:gd name="connsiteX133" fmla="*/ 5144883 w 5588000"/>
              <a:gd name="connsiteY133" fmla="*/ 6611753 h 6858000"/>
              <a:gd name="connsiteX134" fmla="*/ 5124949 w 5588000"/>
              <a:gd name="connsiteY134" fmla="*/ 6592198 h 6858000"/>
              <a:gd name="connsiteX135" fmla="*/ 5124949 w 5588000"/>
              <a:gd name="connsiteY135" fmla="*/ 6534266 h 6858000"/>
              <a:gd name="connsiteX136" fmla="*/ 5159939 w 5588000"/>
              <a:gd name="connsiteY136" fmla="*/ 6534266 h 6858000"/>
              <a:gd name="connsiteX137" fmla="*/ 5159939 w 5588000"/>
              <a:gd name="connsiteY137" fmla="*/ 6508674 h 6858000"/>
              <a:gd name="connsiteX138" fmla="*/ 5124949 w 5588000"/>
              <a:gd name="connsiteY138" fmla="*/ 6508674 h 6858000"/>
              <a:gd name="connsiteX139" fmla="*/ 4849186 w 5588000"/>
              <a:gd name="connsiteY139" fmla="*/ 6399470 h 6858000"/>
              <a:gd name="connsiteX140" fmla="*/ 4758936 w 5588000"/>
              <a:gd name="connsiteY140" fmla="*/ 6432879 h 6858000"/>
              <a:gd name="connsiteX141" fmla="*/ 4743568 w 5588000"/>
              <a:gd name="connsiteY141" fmla="*/ 6475332 h 6858000"/>
              <a:gd name="connsiteX142" fmla="*/ 4747622 w 5588000"/>
              <a:gd name="connsiteY142" fmla="*/ 6503774 h 6858000"/>
              <a:gd name="connsiteX143" fmla="*/ 4770206 w 5588000"/>
              <a:gd name="connsiteY143" fmla="*/ 6499721 h 6858000"/>
              <a:gd name="connsiteX144" fmla="*/ 4818026 w 5588000"/>
              <a:gd name="connsiteY144" fmla="*/ 6484375 h 6858000"/>
              <a:gd name="connsiteX145" fmla="*/ 4849164 w 5588000"/>
              <a:gd name="connsiteY145" fmla="*/ 6399515 h 6858000"/>
              <a:gd name="connsiteX146" fmla="*/ 0 w 5588000"/>
              <a:gd name="connsiteY146" fmla="*/ 0 h 6858000"/>
              <a:gd name="connsiteX147" fmla="*/ 5588000 w 5588000"/>
              <a:gd name="connsiteY147" fmla="*/ 0 h 6858000"/>
              <a:gd name="connsiteX148" fmla="*/ 5588000 w 5588000"/>
              <a:gd name="connsiteY148" fmla="*/ 6858000 h 6858000"/>
              <a:gd name="connsiteX149" fmla="*/ 0 w 5588000"/>
              <a:gd name="connsiteY149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</a:cxnLst>
            <a:rect l="l" t="t" r="r" b="b"/>
            <a:pathLst>
              <a:path w="5588000" h="6858000">
                <a:moveTo>
                  <a:pt x="4692919" y="6643760"/>
                </a:moveTo>
                <a:lnTo>
                  <a:pt x="4727910" y="6643760"/>
                </a:lnTo>
                <a:cubicBezTo>
                  <a:pt x="4736463" y="6643760"/>
                  <a:pt x="4744838" y="6647569"/>
                  <a:pt x="4744838" y="6658037"/>
                </a:cubicBezTo>
                <a:cubicBezTo>
                  <a:pt x="4744838" y="6672470"/>
                  <a:pt x="4730405" y="6681001"/>
                  <a:pt x="4712475" y="6681001"/>
                </a:cubicBezTo>
                <a:cubicBezTo>
                  <a:pt x="4694545" y="6681001"/>
                  <a:pt x="4679377" y="6673450"/>
                  <a:pt x="4679377" y="6662180"/>
                </a:cubicBezTo>
                <a:cubicBezTo>
                  <a:pt x="4679377" y="6653471"/>
                  <a:pt x="4687596" y="6646789"/>
                  <a:pt x="4692919" y="6643760"/>
                </a:cubicBezTo>
                <a:close/>
                <a:moveTo>
                  <a:pt x="5243574" y="6579035"/>
                </a:moveTo>
                <a:lnTo>
                  <a:pt x="5243574" y="6602733"/>
                </a:lnTo>
                <a:cubicBezTo>
                  <a:pt x="5238674" y="6608368"/>
                  <a:pt x="5232281" y="6612511"/>
                  <a:pt x="5224018" y="6612511"/>
                </a:cubicBezTo>
                <a:cubicBezTo>
                  <a:pt x="5217047" y="6612511"/>
                  <a:pt x="5207848" y="6609103"/>
                  <a:pt x="5207848" y="6598212"/>
                </a:cubicBezTo>
                <a:cubicBezTo>
                  <a:pt x="5207848" y="6580572"/>
                  <a:pt x="5225109" y="6578745"/>
                  <a:pt x="5243574" y="6579035"/>
                </a:cubicBezTo>
                <a:close/>
                <a:moveTo>
                  <a:pt x="4850835" y="6532751"/>
                </a:moveTo>
                <a:cubicBezTo>
                  <a:pt x="4864711" y="6532751"/>
                  <a:pt x="4871816" y="6541571"/>
                  <a:pt x="4871126" y="6555692"/>
                </a:cubicBezTo>
                <a:lnTo>
                  <a:pt x="4827114" y="6555692"/>
                </a:lnTo>
                <a:cubicBezTo>
                  <a:pt x="4829386" y="6542618"/>
                  <a:pt x="4836959" y="6532751"/>
                  <a:pt x="4850835" y="6532751"/>
                </a:cubicBezTo>
                <a:close/>
                <a:moveTo>
                  <a:pt x="4715125" y="6528253"/>
                </a:moveTo>
                <a:cubicBezTo>
                  <a:pt x="4728378" y="6528253"/>
                  <a:pt x="4734302" y="6537051"/>
                  <a:pt x="4734302" y="6547808"/>
                </a:cubicBezTo>
                <a:cubicBezTo>
                  <a:pt x="4734302" y="6558522"/>
                  <a:pt x="4727665" y="6567364"/>
                  <a:pt x="4714368" y="6567364"/>
                </a:cubicBezTo>
                <a:cubicBezTo>
                  <a:pt x="4702274" y="6567364"/>
                  <a:pt x="4695570" y="6558566"/>
                  <a:pt x="4695570" y="6547808"/>
                </a:cubicBezTo>
                <a:cubicBezTo>
                  <a:pt x="4695570" y="6538476"/>
                  <a:pt x="4703009" y="6528253"/>
                  <a:pt x="4715125" y="6528253"/>
                </a:cubicBezTo>
                <a:close/>
                <a:moveTo>
                  <a:pt x="4361988" y="6508674"/>
                </a:moveTo>
                <a:lnTo>
                  <a:pt x="4411657" y="6636966"/>
                </a:lnTo>
                <a:lnTo>
                  <a:pt x="4407893" y="6645987"/>
                </a:lnTo>
                <a:cubicBezTo>
                  <a:pt x="4400097" y="6664718"/>
                  <a:pt x="4391589" y="6678350"/>
                  <a:pt x="4375530" y="6678350"/>
                </a:cubicBezTo>
                <a:cubicBezTo>
                  <a:pt x="4370630" y="6678350"/>
                  <a:pt x="4365307" y="6677704"/>
                  <a:pt x="4358224" y="6676100"/>
                </a:cubicBezTo>
                <a:lnTo>
                  <a:pt x="4352589" y="6701669"/>
                </a:lnTo>
                <a:cubicBezTo>
                  <a:pt x="4361365" y="6703674"/>
                  <a:pt x="4368470" y="6705433"/>
                  <a:pt x="4381922" y="6705433"/>
                </a:cubicBezTo>
                <a:cubicBezTo>
                  <a:pt x="4408806" y="6705433"/>
                  <a:pt x="4428540" y="6687927"/>
                  <a:pt x="4438362" y="6664050"/>
                </a:cubicBezTo>
                <a:lnTo>
                  <a:pt x="4502308" y="6508674"/>
                </a:lnTo>
                <a:lnTo>
                  <a:pt x="4502286" y="6508674"/>
                </a:lnTo>
                <a:lnTo>
                  <a:pt x="4465045" y="6508674"/>
                </a:lnTo>
                <a:lnTo>
                  <a:pt x="4440968" y="6571127"/>
                </a:lnTo>
                <a:cubicBezTo>
                  <a:pt x="4438117" y="6578522"/>
                  <a:pt x="4435288" y="6587743"/>
                  <a:pt x="4433818" y="6593334"/>
                </a:cubicBezTo>
                <a:cubicBezTo>
                  <a:pt x="4432571" y="6587788"/>
                  <a:pt x="4430990" y="6579948"/>
                  <a:pt x="4428183" y="6572263"/>
                </a:cubicBezTo>
                <a:lnTo>
                  <a:pt x="4404864" y="6508674"/>
                </a:lnTo>
                <a:close/>
                <a:moveTo>
                  <a:pt x="5231925" y="6505690"/>
                </a:moveTo>
                <a:cubicBezTo>
                  <a:pt x="5211968" y="6505690"/>
                  <a:pt x="5190920" y="6512283"/>
                  <a:pt x="5173993" y="6521482"/>
                </a:cubicBezTo>
                <a:lnTo>
                  <a:pt x="5183771" y="6545180"/>
                </a:lnTo>
                <a:cubicBezTo>
                  <a:pt x="5193304" y="6539456"/>
                  <a:pt x="5207848" y="6533130"/>
                  <a:pt x="5220655" y="6533130"/>
                </a:cubicBezTo>
                <a:cubicBezTo>
                  <a:pt x="5239587" y="6533130"/>
                  <a:pt x="5243574" y="6540614"/>
                  <a:pt x="5243574" y="6551194"/>
                </a:cubicBezTo>
                <a:lnTo>
                  <a:pt x="5243574" y="6554579"/>
                </a:lnTo>
                <a:cubicBezTo>
                  <a:pt x="5210409" y="6554735"/>
                  <a:pt x="5167957" y="6561350"/>
                  <a:pt x="5167957" y="6603869"/>
                </a:cubicBezTo>
                <a:cubicBezTo>
                  <a:pt x="5167957" y="6628035"/>
                  <a:pt x="5184350" y="6639595"/>
                  <a:pt x="5208204" y="6639595"/>
                </a:cubicBezTo>
                <a:cubicBezTo>
                  <a:pt x="5222281" y="6639595"/>
                  <a:pt x="5234932" y="6635452"/>
                  <a:pt x="5244710" y="6626810"/>
                </a:cubicBezTo>
                <a:lnTo>
                  <a:pt x="5244710" y="6636967"/>
                </a:lnTo>
                <a:lnTo>
                  <a:pt x="5282329" y="6636967"/>
                </a:lnTo>
                <a:lnTo>
                  <a:pt x="5282351" y="6636989"/>
                </a:lnTo>
                <a:lnTo>
                  <a:pt x="5282351" y="6545937"/>
                </a:lnTo>
                <a:cubicBezTo>
                  <a:pt x="5282351" y="6520323"/>
                  <a:pt x="5262550" y="6505690"/>
                  <a:pt x="5231925" y="6505690"/>
                </a:cubicBezTo>
                <a:close/>
                <a:moveTo>
                  <a:pt x="5012380" y="6505667"/>
                </a:moveTo>
                <a:cubicBezTo>
                  <a:pt x="4996255" y="6505667"/>
                  <a:pt x="4981376" y="6511235"/>
                  <a:pt x="4968369" y="6519966"/>
                </a:cubicBezTo>
                <a:lnTo>
                  <a:pt x="4968369" y="6508674"/>
                </a:lnTo>
                <a:lnTo>
                  <a:pt x="4929614" y="6508674"/>
                </a:lnTo>
                <a:lnTo>
                  <a:pt x="4929614" y="6636944"/>
                </a:lnTo>
                <a:lnTo>
                  <a:pt x="4969505" y="6636944"/>
                </a:lnTo>
                <a:lnTo>
                  <a:pt x="4969505" y="6546672"/>
                </a:lnTo>
                <a:cubicBezTo>
                  <a:pt x="4976944" y="6540725"/>
                  <a:pt x="4983626" y="6535758"/>
                  <a:pt x="4993938" y="6535758"/>
                </a:cubicBezTo>
                <a:cubicBezTo>
                  <a:pt x="5007636" y="6535758"/>
                  <a:pt x="5012737" y="6542462"/>
                  <a:pt x="5012737" y="6554578"/>
                </a:cubicBezTo>
                <a:lnTo>
                  <a:pt x="5012737" y="6636966"/>
                </a:lnTo>
                <a:lnTo>
                  <a:pt x="5052628" y="6636966"/>
                </a:lnTo>
                <a:lnTo>
                  <a:pt x="5052628" y="6636944"/>
                </a:lnTo>
                <a:lnTo>
                  <a:pt x="5052628" y="6545536"/>
                </a:lnTo>
                <a:cubicBezTo>
                  <a:pt x="5052628" y="6521481"/>
                  <a:pt x="5037816" y="6505667"/>
                  <a:pt x="5012380" y="6505667"/>
                </a:cubicBezTo>
                <a:close/>
                <a:moveTo>
                  <a:pt x="4852350" y="6505667"/>
                </a:moveTo>
                <a:cubicBezTo>
                  <a:pt x="4817203" y="6505667"/>
                  <a:pt x="4784662" y="6532060"/>
                  <a:pt x="4784662" y="6572998"/>
                </a:cubicBezTo>
                <a:cubicBezTo>
                  <a:pt x="4784662" y="6613936"/>
                  <a:pt x="4809496" y="6639594"/>
                  <a:pt x="4849343" y="6639594"/>
                </a:cubicBezTo>
                <a:cubicBezTo>
                  <a:pt x="4870413" y="6639594"/>
                  <a:pt x="4889323" y="6634449"/>
                  <a:pt x="4906896" y="6624916"/>
                </a:cubicBezTo>
                <a:lnTo>
                  <a:pt x="4896361" y="6601218"/>
                </a:lnTo>
                <a:cubicBezTo>
                  <a:pt x="4890147" y="6605517"/>
                  <a:pt x="4875669" y="6610996"/>
                  <a:pt x="4863620" y="6610996"/>
                </a:cubicBezTo>
                <a:cubicBezTo>
                  <a:pt x="4836424" y="6610996"/>
                  <a:pt x="4827114" y="6599948"/>
                  <a:pt x="4826758" y="6581284"/>
                </a:cubicBezTo>
                <a:lnTo>
                  <a:pt x="4911774" y="6581284"/>
                </a:lnTo>
                <a:cubicBezTo>
                  <a:pt x="4912019" y="6576740"/>
                  <a:pt x="4912152" y="6572375"/>
                  <a:pt x="4912152" y="6568120"/>
                </a:cubicBezTo>
                <a:lnTo>
                  <a:pt x="4912175" y="6568120"/>
                </a:lnTo>
                <a:cubicBezTo>
                  <a:pt x="4912175" y="6531259"/>
                  <a:pt x="4896138" y="6505667"/>
                  <a:pt x="4852350" y="6505667"/>
                </a:cubicBezTo>
                <a:close/>
                <a:moveTo>
                  <a:pt x="4593315" y="6505667"/>
                </a:moveTo>
                <a:cubicBezTo>
                  <a:pt x="4577190" y="6505667"/>
                  <a:pt x="4562289" y="6511235"/>
                  <a:pt x="4549304" y="6519966"/>
                </a:cubicBezTo>
                <a:lnTo>
                  <a:pt x="4549304" y="6508674"/>
                </a:lnTo>
                <a:lnTo>
                  <a:pt x="4510549" y="6508674"/>
                </a:lnTo>
                <a:lnTo>
                  <a:pt x="4510549" y="6636944"/>
                </a:lnTo>
                <a:lnTo>
                  <a:pt x="4550418" y="6636944"/>
                </a:lnTo>
                <a:lnTo>
                  <a:pt x="4550418" y="6546672"/>
                </a:lnTo>
                <a:cubicBezTo>
                  <a:pt x="4557879" y="6540725"/>
                  <a:pt x="4564561" y="6535758"/>
                  <a:pt x="4574873" y="6535758"/>
                </a:cubicBezTo>
                <a:cubicBezTo>
                  <a:pt x="4588571" y="6535758"/>
                  <a:pt x="4593672" y="6542462"/>
                  <a:pt x="4593672" y="6554578"/>
                </a:cubicBezTo>
                <a:lnTo>
                  <a:pt x="4593672" y="6636966"/>
                </a:lnTo>
                <a:lnTo>
                  <a:pt x="4633563" y="6636966"/>
                </a:lnTo>
                <a:lnTo>
                  <a:pt x="4633585" y="6636944"/>
                </a:lnTo>
                <a:lnTo>
                  <a:pt x="4633585" y="6545536"/>
                </a:lnTo>
                <a:cubicBezTo>
                  <a:pt x="4633585" y="6521481"/>
                  <a:pt x="4618751" y="6505667"/>
                  <a:pt x="4593315" y="6505667"/>
                </a:cubicBezTo>
                <a:close/>
                <a:moveTo>
                  <a:pt x="4716618" y="6505267"/>
                </a:moveTo>
                <a:cubicBezTo>
                  <a:pt x="4682741" y="6505267"/>
                  <a:pt x="4656815" y="6519678"/>
                  <a:pt x="4656815" y="6547029"/>
                </a:cubicBezTo>
                <a:cubicBezTo>
                  <a:pt x="4656815" y="6568055"/>
                  <a:pt x="4666682" y="6574335"/>
                  <a:pt x="4674121" y="6578256"/>
                </a:cubicBezTo>
                <a:cubicBezTo>
                  <a:pt x="4660735" y="6585717"/>
                  <a:pt x="4649665" y="6597321"/>
                  <a:pt x="4649665" y="6609861"/>
                </a:cubicBezTo>
                <a:cubicBezTo>
                  <a:pt x="4649665" y="6619817"/>
                  <a:pt x="4652494" y="6625742"/>
                  <a:pt x="4656058" y="6629795"/>
                </a:cubicBezTo>
                <a:cubicBezTo>
                  <a:pt x="4659443" y="6633648"/>
                  <a:pt x="4663408" y="6635608"/>
                  <a:pt x="4667729" y="6638081"/>
                </a:cubicBezTo>
                <a:cubicBezTo>
                  <a:pt x="4659911" y="6643159"/>
                  <a:pt x="4647037" y="6652892"/>
                  <a:pt x="4647037" y="6667437"/>
                </a:cubicBezTo>
                <a:cubicBezTo>
                  <a:pt x="4647037" y="6698530"/>
                  <a:pt x="4678219" y="6707840"/>
                  <a:pt x="4710604" y="6707684"/>
                </a:cubicBezTo>
                <a:cubicBezTo>
                  <a:pt x="4747399" y="6707506"/>
                  <a:pt x="4784706" y="6690177"/>
                  <a:pt x="4784706" y="6652759"/>
                </a:cubicBezTo>
                <a:lnTo>
                  <a:pt x="4784706" y="6652736"/>
                </a:lnTo>
                <a:cubicBezTo>
                  <a:pt x="4784706" y="6624450"/>
                  <a:pt x="4766977" y="6610240"/>
                  <a:pt x="4737666" y="6610240"/>
                </a:cubicBezTo>
                <a:lnTo>
                  <a:pt x="4706060" y="6610240"/>
                </a:lnTo>
                <a:cubicBezTo>
                  <a:pt x="4699958" y="6610240"/>
                  <a:pt x="4686505" y="6608792"/>
                  <a:pt x="4686505" y="6598947"/>
                </a:cubicBezTo>
                <a:cubicBezTo>
                  <a:pt x="4686505" y="6594092"/>
                  <a:pt x="4693031" y="6589771"/>
                  <a:pt x="4696283" y="6588033"/>
                </a:cubicBezTo>
                <a:cubicBezTo>
                  <a:pt x="4701272" y="6589013"/>
                  <a:pt x="4706394" y="6589904"/>
                  <a:pt x="4712096" y="6589904"/>
                </a:cubicBezTo>
                <a:cubicBezTo>
                  <a:pt x="4742766" y="6589904"/>
                  <a:pt x="4773057" y="6579636"/>
                  <a:pt x="4773057" y="6545893"/>
                </a:cubicBezTo>
                <a:cubicBezTo>
                  <a:pt x="4773057" y="6512149"/>
                  <a:pt x="4745417" y="6505267"/>
                  <a:pt x="4716618" y="6505267"/>
                </a:cubicBezTo>
                <a:close/>
                <a:moveTo>
                  <a:pt x="4308733" y="6503396"/>
                </a:moveTo>
                <a:cubicBezTo>
                  <a:pt x="4277885" y="6503396"/>
                  <a:pt x="4255322" y="6519833"/>
                  <a:pt x="4255322" y="6546271"/>
                </a:cubicBezTo>
                <a:cubicBezTo>
                  <a:pt x="4255322" y="6570148"/>
                  <a:pt x="4268775" y="6578679"/>
                  <a:pt x="4285035" y="6583156"/>
                </a:cubicBezTo>
                <a:cubicBezTo>
                  <a:pt x="4292763" y="6585271"/>
                  <a:pt x="4304479" y="6587298"/>
                  <a:pt x="4312119" y="6589548"/>
                </a:cubicBezTo>
                <a:cubicBezTo>
                  <a:pt x="4318221" y="6591352"/>
                  <a:pt x="4321540" y="6594069"/>
                  <a:pt x="4321540" y="6599326"/>
                </a:cubicBezTo>
                <a:cubicBezTo>
                  <a:pt x="4321540" y="6610618"/>
                  <a:pt x="4308577" y="6611754"/>
                  <a:pt x="4299334" y="6611754"/>
                </a:cubicBezTo>
                <a:cubicBezTo>
                  <a:pt x="4287485" y="6611754"/>
                  <a:pt x="4272940" y="6607210"/>
                  <a:pt x="4262851" y="6603112"/>
                </a:cubicBezTo>
                <a:lnTo>
                  <a:pt x="4251937" y="6629060"/>
                </a:lnTo>
                <a:cubicBezTo>
                  <a:pt x="4268954" y="6635876"/>
                  <a:pt x="4285057" y="6639217"/>
                  <a:pt x="4304991" y="6639217"/>
                </a:cubicBezTo>
                <a:cubicBezTo>
                  <a:pt x="4335639" y="6639217"/>
                  <a:pt x="4361431" y="6623893"/>
                  <a:pt x="4361431" y="6595962"/>
                </a:cubicBezTo>
                <a:lnTo>
                  <a:pt x="4361386" y="6595962"/>
                </a:lnTo>
                <a:cubicBezTo>
                  <a:pt x="4361386" y="6569190"/>
                  <a:pt x="4344904" y="6559435"/>
                  <a:pt x="4327910" y="6555693"/>
                </a:cubicBezTo>
                <a:cubicBezTo>
                  <a:pt x="4319602" y="6553867"/>
                  <a:pt x="4309713" y="6552085"/>
                  <a:pt x="4303454" y="6550058"/>
                </a:cubicBezTo>
                <a:cubicBezTo>
                  <a:pt x="4297619" y="6548187"/>
                  <a:pt x="4295547" y="6543977"/>
                  <a:pt x="4295547" y="6540659"/>
                </a:cubicBezTo>
                <a:cubicBezTo>
                  <a:pt x="4295547" y="6533932"/>
                  <a:pt x="4303031" y="6529745"/>
                  <a:pt x="4313989" y="6529745"/>
                </a:cubicBezTo>
                <a:cubicBezTo>
                  <a:pt x="4324101" y="6529745"/>
                  <a:pt x="4338289" y="6533086"/>
                  <a:pt x="4343345" y="6535380"/>
                </a:cubicBezTo>
                <a:lnTo>
                  <a:pt x="4353502" y="6509410"/>
                </a:lnTo>
                <a:cubicBezTo>
                  <a:pt x="4342053" y="6506091"/>
                  <a:pt x="4329113" y="6503396"/>
                  <a:pt x="4308733" y="6503396"/>
                </a:cubicBezTo>
                <a:close/>
                <a:moveTo>
                  <a:pt x="5124949" y="6469184"/>
                </a:moveTo>
                <a:lnTo>
                  <a:pt x="5085080" y="6480476"/>
                </a:lnTo>
                <a:lnTo>
                  <a:pt x="5085080" y="6508674"/>
                </a:lnTo>
                <a:lnTo>
                  <a:pt x="5064767" y="6508674"/>
                </a:lnTo>
                <a:lnTo>
                  <a:pt x="5064767" y="6534266"/>
                </a:lnTo>
                <a:lnTo>
                  <a:pt x="5085080" y="6534266"/>
                </a:lnTo>
                <a:lnTo>
                  <a:pt x="5085080" y="6601597"/>
                </a:lnTo>
                <a:cubicBezTo>
                  <a:pt x="5085080" y="6631175"/>
                  <a:pt x="5106484" y="6639595"/>
                  <a:pt x="5130584" y="6639595"/>
                </a:cubicBezTo>
                <a:cubicBezTo>
                  <a:pt x="5138535" y="6639595"/>
                  <a:pt x="5150785" y="6638214"/>
                  <a:pt x="5159939" y="6636588"/>
                </a:cubicBezTo>
                <a:lnTo>
                  <a:pt x="5157289" y="6610617"/>
                </a:lnTo>
                <a:cubicBezTo>
                  <a:pt x="5153035" y="6611196"/>
                  <a:pt x="5148803" y="6611753"/>
                  <a:pt x="5144883" y="6611753"/>
                </a:cubicBezTo>
                <a:cubicBezTo>
                  <a:pt x="5133635" y="6611753"/>
                  <a:pt x="5124949" y="6608702"/>
                  <a:pt x="5124949" y="6592198"/>
                </a:cubicBezTo>
                <a:lnTo>
                  <a:pt x="5124949" y="6534266"/>
                </a:lnTo>
                <a:lnTo>
                  <a:pt x="5159939" y="6534266"/>
                </a:lnTo>
                <a:lnTo>
                  <a:pt x="5159939" y="6508674"/>
                </a:lnTo>
                <a:lnTo>
                  <a:pt x="5124949" y="6508674"/>
                </a:lnTo>
                <a:close/>
                <a:moveTo>
                  <a:pt x="4849186" y="6399470"/>
                </a:moveTo>
                <a:cubicBezTo>
                  <a:pt x="4821924" y="6403368"/>
                  <a:pt x="4781343" y="6410473"/>
                  <a:pt x="4758936" y="6432879"/>
                </a:cubicBezTo>
                <a:cubicBezTo>
                  <a:pt x="4747221" y="6444573"/>
                  <a:pt x="4743568" y="6459050"/>
                  <a:pt x="4743568" y="6475332"/>
                </a:cubicBezTo>
                <a:cubicBezTo>
                  <a:pt x="4743568" y="6484798"/>
                  <a:pt x="4744793" y="6494732"/>
                  <a:pt x="4747622" y="6503774"/>
                </a:cubicBezTo>
                <a:cubicBezTo>
                  <a:pt x="4752522" y="6500233"/>
                  <a:pt x="4764193" y="6499721"/>
                  <a:pt x="4770206" y="6499721"/>
                </a:cubicBezTo>
                <a:cubicBezTo>
                  <a:pt x="4787490" y="6499721"/>
                  <a:pt x="4802168" y="6500233"/>
                  <a:pt x="4818026" y="6484375"/>
                </a:cubicBezTo>
                <a:cubicBezTo>
                  <a:pt x="4837760" y="6464663"/>
                  <a:pt x="4828985" y="6433704"/>
                  <a:pt x="4849164" y="6399515"/>
                </a:cubicBezTo>
                <a:close/>
                <a:moveTo>
                  <a:pt x="0" y="0"/>
                </a:moveTo>
                <a:lnTo>
                  <a:pt x="5588000" y="0"/>
                </a:lnTo>
                <a:lnTo>
                  <a:pt x="5588000" y="6858000"/>
                </a:lnTo>
                <a:lnTo>
                  <a:pt x="0" y="6858000"/>
                </a:lnTo>
                <a:close/>
              </a:path>
            </a:pathLst>
          </a:custGeom>
          <a:pattFill prst="ltVert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ru-RU"/>
              <a:t>Вставка рисунка</a:t>
            </a:r>
            <a:endParaRPr lang="en-US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70F38423-965D-70B8-667F-FE8C446ABA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763760" y="4268568"/>
            <a:ext cx="2080460" cy="1935993"/>
          </a:xfrm>
          <a:prstGeom prst="roundRect">
            <a:avLst/>
          </a:prstGeom>
          <a:solidFill>
            <a:schemeClr val="tx2"/>
          </a:solidFill>
          <a:ln w="76200">
            <a:solidFill>
              <a:schemeClr val="bg1"/>
            </a:solidFill>
          </a:ln>
        </p:spPr>
        <p:txBody>
          <a:bodyPr wrap="square" anchor="ctr">
            <a:noAutofit/>
          </a:bodyPr>
          <a:lstStyle>
            <a:lvl1pPr algn="ctr">
              <a:defRPr sz="5400" b="1">
                <a:solidFill>
                  <a:schemeClr val="bg1"/>
                </a:solidFill>
              </a:defRPr>
            </a:lvl1pPr>
            <a:lvl2pPr>
              <a:defRPr>
                <a:solidFill>
                  <a:srgbClr val="334C56"/>
                </a:solidFill>
              </a:defRPr>
            </a:lvl2pPr>
            <a:lvl3pPr>
              <a:defRPr>
                <a:solidFill>
                  <a:srgbClr val="334C56"/>
                </a:solidFill>
              </a:defRPr>
            </a:lvl3pPr>
            <a:lvl4pPr>
              <a:defRPr>
                <a:solidFill>
                  <a:srgbClr val="334C56"/>
                </a:solidFill>
              </a:defRPr>
            </a:lvl4pPr>
            <a:lvl5pPr>
              <a:defRPr>
                <a:solidFill>
                  <a:srgbClr val="334C56"/>
                </a:solidFill>
              </a:defRPr>
            </a:lvl5pPr>
          </a:lstStyle>
          <a:p>
            <a:pPr lvl="0"/>
            <a:r>
              <a:rPr lang="en-US" dirty="0"/>
              <a:t>85%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B539BDD7-6E2E-143E-CB40-90E2C9A06EB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4800" y="1589249"/>
            <a:ext cx="5376671" cy="1013790"/>
          </a:xfrm>
        </p:spPr>
        <p:txBody>
          <a:bodyPr/>
          <a:lstStyle>
            <a:lvl1pPr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Key message</a:t>
            </a:r>
          </a:p>
        </p:txBody>
      </p:sp>
    </p:spTree>
    <p:extLst>
      <p:ext uri="{BB962C8B-B14F-4D97-AF65-F5344CB8AC3E}">
        <p14:creationId xmlns:p14="http://schemas.microsoft.com/office/powerpoint/2010/main" val="325869048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Big photo (leaf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B848201D-2689-174B-801D-73A849A353A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604000" y="1"/>
            <a:ext cx="5588000" cy="6858000"/>
          </a:xfrm>
          <a:custGeom>
            <a:avLst/>
            <a:gdLst>
              <a:gd name="connsiteX0" fmla="*/ 4692919 w 5588000"/>
              <a:gd name="connsiteY0" fmla="*/ 6643759 h 6858000"/>
              <a:gd name="connsiteX1" fmla="*/ 4727910 w 5588000"/>
              <a:gd name="connsiteY1" fmla="*/ 6643759 h 6858000"/>
              <a:gd name="connsiteX2" fmla="*/ 4744838 w 5588000"/>
              <a:gd name="connsiteY2" fmla="*/ 6658036 h 6858000"/>
              <a:gd name="connsiteX3" fmla="*/ 4712475 w 5588000"/>
              <a:gd name="connsiteY3" fmla="*/ 6681000 h 6858000"/>
              <a:gd name="connsiteX4" fmla="*/ 4679377 w 5588000"/>
              <a:gd name="connsiteY4" fmla="*/ 6662179 h 6858000"/>
              <a:gd name="connsiteX5" fmla="*/ 4692919 w 5588000"/>
              <a:gd name="connsiteY5" fmla="*/ 6643759 h 6858000"/>
              <a:gd name="connsiteX6" fmla="*/ 5243574 w 5588000"/>
              <a:gd name="connsiteY6" fmla="*/ 6579034 h 6858000"/>
              <a:gd name="connsiteX7" fmla="*/ 5243574 w 5588000"/>
              <a:gd name="connsiteY7" fmla="*/ 6602732 h 6858000"/>
              <a:gd name="connsiteX8" fmla="*/ 5224018 w 5588000"/>
              <a:gd name="connsiteY8" fmla="*/ 6612510 h 6858000"/>
              <a:gd name="connsiteX9" fmla="*/ 5207848 w 5588000"/>
              <a:gd name="connsiteY9" fmla="*/ 6598211 h 6858000"/>
              <a:gd name="connsiteX10" fmla="*/ 5243574 w 5588000"/>
              <a:gd name="connsiteY10" fmla="*/ 6579034 h 6858000"/>
              <a:gd name="connsiteX11" fmla="*/ 4850835 w 5588000"/>
              <a:gd name="connsiteY11" fmla="*/ 6532750 h 6858000"/>
              <a:gd name="connsiteX12" fmla="*/ 4871126 w 5588000"/>
              <a:gd name="connsiteY12" fmla="*/ 6555691 h 6858000"/>
              <a:gd name="connsiteX13" fmla="*/ 4827114 w 5588000"/>
              <a:gd name="connsiteY13" fmla="*/ 6555691 h 6858000"/>
              <a:gd name="connsiteX14" fmla="*/ 4850835 w 5588000"/>
              <a:gd name="connsiteY14" fmla="*/ 6532750 h 6858000"/>
              <a:gd name="connsiteX15" fmla="*/ 4715125 w 5588000"/>
              <a:gd name="connsiteY15" fmla="*/ 6528252 h 6858000"/>
              <a:gd name="connsiteX16" fmla="*/ 4734302 w 5588000"/>
              <a:gd name="connsiteY16" fmla="*/ 6547807 h 6858000"/>
              <a:gd name="connsiteX17" fmla="*/ 4714368 w 5588000"/>
              <a:gd name="connsiteY17" fmla="*/ 6567363 h 6858000"/>
              <a:gd name="connsiteX18" fmla="*/ 4695570 w 5588000"/>
              <a:gd name="connsiteY18" fmla="*/ 6547807 h 6858000"/>
              <a:gd name="connsiteX19" fmla="*/ 4715125 w 5588000"/>
              <a:gd name="connsiteY19" fmla="*/ 6528252 h 6858000"/>
              <a:gd name="connsiteX20" fmla="*/ 4361988 w 5588000"/>
              <a:gd name="connsiteY20" fmla="*/ 6508673 h 6858000"/>
              <a:gd name="connsiteX21" fmla="*/ 4411657 w 5588000"/>
              <a:gd name="connsiteY21" fmla="*/ 6636965 h 6858000"/>
              <a:gd name="connsiteX22" fmla="*/ 4407893 w 5588000"/>
              <a:gd name="connsiteY22" fmla="*/ 6645986 h 6858000"/>
              <a:gd name="connsiteX23" fmla="*/ 4375530 w 5588000"/>
              <a:gd name="connsiteY23" fmla="*/ 6678349 h 6858000"/>
              <a:gd name="connsiteX24" fmla="*/ 4358224 w 5588000"/>
              <a:gd name="connsiteY24" fmla="*/ 6676099 h 6858000"/>
              <a:gd name="connsiteX25" fmla="*/ 4352589 w 5588000"/>
              <a:gd name="connsiteY25" fmla="*/ 6701668 h 6858000"/>
              <a:gd name="connsiteX26" fmla="*/ 4381922 w 5588000"/>
              <a:gd name="connsiteY26" fmla="*/ 6705432 h 6858000"/>
              <a:gd name="connsiteX27" fmla="*/ 4438362 w 5588000"/>
              <a:gd name="connsiteY27" fmla="*/ 6664049 h 6858000"/>
              <a:gd name="connsiteX28" fmla="*/ 4502308 w 5588000"/>
              <a:gd name="connsiteY28" fmla="*/ 6508673 h 6858000"/>
              <a:gd name="connsiteX29" fmla="*/ 4502286 w 5588000"/>
              <a:gd name="connsiteY29" fmla="*/ 6508673 h 6858000"/>
              <a:gd name="connsiteX30" fmla="*/ 4465045 w 5588000"/>
              <a:gd name="connsiteY30" fmla="*/ 6508673 h 6858000"/>
              <a:gd name="connsiteX31" fmla="*/ 4440968 w 5588000"/>
              <a:gd name="connsiteY31" fmla="*/ 6571126 h 6858000"/>
              <a:gd name="connsiteX32" fmla="*/ 4433818 w 5588000"/>
              <a:gd name="connsiteY32" fmla="*/ 6593333 h 6858000"/>
              <a:gd name="connsiteX33" fmla="*/ 4428183 w 5588000"/>
              <a:gd name="connsiteY33" fmla="*/ 6572262 h 6858000"/>
              <a:gd name="connsiteX34" fmla="*/ 4404864 w 5588000"/>
              <a:gd name="connsiteY34" fmla="*/ 6508673 h 6858000"/>
              <a:gd name="connsiteX35" fmla="*/ 5231925 w 5588000"/>
              <a:gd name="connsiteY35" fmla="*/ 6505689 h 6858000"/>
              <a:gd name="connsiteX36" fmla="*/ 5173993 w 5588000"/>
              <a:gd name="connsiteY36" fmla="*/ 6521481 h 6858000"/>
              <a:gd name="connsiteX37" fmla="*/ 5183771 w 5588000"/>
              <a:gd name="connsiteY37" fmla="*/ 6545179 h 6858000"/>
              <a:gd name="connsiteX38" fmla="*/ 5220655 w 5588000"/>
              <a:gd name="connsiteY38" fmla="*/ 6533129 h 6858000"/>
              <a:gd name="connsiteX39" fmla="*/ 5243574 w 5588000"/>
              <a:gd name="connsiteY39" fmla="*/ 6551193 h 6858000"/>
              <a:gd name="connsiteX40" fmla="*/ 5243574 w 5588000"/>
              <a:gd name="connsiteY40" fmla="*/ 6554578 h 6858000"/>
              <a:gd name="connsiteX41" fmla="*/ 5167957 w 5588000"/>
              <a:gd name="connsiteY41" fmla="*/ 6603868 h 6858000"/>
              <a:gd name="connsiteX42" fmla="*/ 5208204 w 5588000"/>
              <a:gd name="connsiteY42" fmla="*/ 6639594 h 6858000"/>
              <a:gd name="connsiteX43" fmla="*/ 5244710 w 5588000"/>
              <a:gd name="connsiteY43" fmla="*/ 6626809 h 6858000"/>
              <a:gd name="connsiteX44" fmla="*/ 5244710 w 5588000"/>
              <a:gd name="connsiteY44" fmla="*/ 6636966 h 6858000"/>
              <a:gd name="connsiteX45" fmla="*/ 5282329 w 5588000"/>
              <a:gd name="connsiteY45" fmla="*/ 6636966 h 6858000"/>
              <a:gd name="connsiteX46" fmla="*/ 5282351 w 5588000"/>
              <a:gd name="connsiteY46" fmla="*/ 6636988 h 6858000"/>
              <a:gd name="connsiteX47" fmla="*/ 5282351 w 5588000"/>
              <a:gd name="connsiteY47" fmla="*/ 6545936 h 6858000"/>
              <a:gd name="connsiteX48" fmla="*/ 5231925 w 5588000"/>
              <a:gd name="connsiteY48" fmla="*/ 6505689 h 6858000"/>
              <a:gd name="connsiteX49" fmla="*/ 5012380 w 5588000"/>
              <a:gd name="connsiteY49" fmla="*/ 6505666 h 6858000"/>
              <a:gd name="connsiteX50" fmla="*/ 4968369 w 5588000"/>
              <a:gd name="connsiteY50" fmla="*/ 6519965 h 6858000"/>
              <a:gd name="connsiteX51" fmla="*/ 4968369 w 5588000"/>
              <a:gd name="connsiteY51" fmla="*/ 6508673 h 6858000"/>
              <a:gd name="connsiteX52" fmla="*/ 4929614 w 5588000"/>
              <a:gd name="connsiteY52" fmla="*/ 6508673 h 6858000"/>
              <a:gd name="connsiteX53" fmla="*/ 4929614 w 5588000"/>
              <a:gd name="connsiteY53" fmla="*/ 6636943 h 6858000"/>
              <a:gd name="connsiteX54" fmla="*/ 4969505 w 5588000"/>
              <a:gd name="connsiteY54" fmla="*/ 6636943 h 6858000"/>
              <a:gd name="connsiteX55" fmla="*/ 4969505 w 5588000"/>
              <a:gd name="connsiteY55" fmla="*/ 6546671 h 6858000"/>
              <a:gd name="connsiteX56" fmla="*/ 4993938 w 5588000"/>
              <a:gd name="connsiteY56" fmla="*/ 6535757 h 6858000"/>
              <a:gd name="connsiteX57" fmla="*/ 5012737 w 5588000"/>
              <a:gd name="connsiteY57" fmla="*/ 6554577 h 6858000"/>
              <a:gd name="connsiteX58" fmla="*/ 5012737 w 5588000"/>
              <a:gd name="connsiteY58" fmla="*/ 6636965 h 6858000"/>
              <a:gd name="connsiteX59" fmla="*/ 5052628 w 5588000"/>
              <a:gd name="connsiteY59" fmla="*/ 6636965 h 6858000"/>
              <a:gd name="connsiteX60" fmla="*/ 5052628 w 5588000"/>
              <a:gd name="connsiteY60" fmla="*/ 6636943 h 6858000"/>
              <a:gd name="connsiteX61" fmla="*/ 5052628 w 5588000"/>
              <a:gd name="connsiteY61" fmla="*/ 6545535 h 6858000"/>
              <a:gd name="connsiteX62" fmla="*/ 5012380 w 5588000"/>
              <a:gd name="connsiteY62" fmla="*/ 6505666 h 6858000"/>
              <a:gd name="connsiteX63" fmla="*/ 4852350 w 5588000"/>
              <a:gd name="connsiteY63" fmla="*/ 6505666 h 6858000"/>
              <a:gd name="connsiteX64" fmla="*/ 4784662 w 5588000"/>
              <a:gd name="connsiteY64" fmla="*/ 6572997 h 6858000"/>
              <a:gd name="connsiteX65" fmla="*/ 4849343 w 5588000"/>
              <a:gd name="connsiteY65" fmla="*/ 6639593 h 6858000"/>
              <a:gd name="connsiteX66" fmla="*/ 4906896 w 5588000"/>
              <a:gd name="connsiteY66" fmla="*/ 6624915 h 6858000"/>
              <a:gd name="connsiteX67" fmla="*/ 4896361 w 5588000"/>
              <a:gd name="connsiteY67" fmla="*/ 6601217 h 6858000"/>
              <a:gd name="connsiteX68" fmla="*/ 4863620 w 5588000"/>
              <a:gd name="connsiteY68" fmla="*/ 6610995 h 6858000"/>
              <a:gd name="connsiteX69" fmla="*/ 4826758 w 5588000"/>
              <a:gd name="connsiteY69" fmla="*/ 6581283 h 6858000"/>
              <a:gd name="connsiteX70" fmla="*/ 4911774 w 5588000"/>
              <a:gd name="connsiteY70" fmla="*/ 6581283 h 6858000"/>
              <a:gd name="connsiteX71" fmla="*/ 4912152 w 5588000"/>
              <a:gd name="connsiteY71" fmla="*/ 6568119 h 6858000"/>
              <a:gd name="connsiteX72" fmla="*/ 4912175 w 5588000"/>
              <a:gd name="connsiteY72" fmla="*/ 6568119 h 6858000"/>
              <a:gd name="connsiteX73" fmla="*/ 4852350 w 5588000"/>
              <a:gd name="connsiteY73" fmla="*/ 6505666 h 6858000"/>
              <a:gd name="connsiteX74" fmla="*/ 4593315 w 5588000"/>
              <a:gd name="connsiteY74" fmla="*/ 6505666 h 6858000"/>
              <a:gd name="connsiteX75" fmla="*/ 4549304 w 5588000"/>
              <a:gd name="connsiteY75" fmla="*/ 6519965 h 6858000"/>
              <a:gd name="connsiteX76" fmla="*/ 4549304 w 5588000"/>
              <a:gd name="connsiteY76" fmla="*/ 6508673 h 6858000"/>
              <a:gd name="connsiteX77" fmla="*/ 4510549 w 5588000"/>
              <a:gd name="connsiteY77" fmla="*/ 6508673 h 6858000"/>
              <a:gd name="connsiteX78" fmla="*/ 4510549 w 5588000"/>
              <a:gd name="connsiteY78" fmla="*/ 6636943 h 6858000"/>
              <a:gd name="connsiteX79" fmla="*/ 4550418 w 5588000"/>
              <a:gd name="connsiteY79" fmla="*/ 6636943 h 6858000"/>
              <a:gd name="connsiteX80" fmla="*/ 4550418 w 5588000"/>
              <a:gd name="connsiteY80" fmla="*/ 6546671 h 6858000"/>
              <a:gd name="connsiteX81" fmla="*/ 4574873 w 5588000"/>
              <a:gd name="connsiteY81" fmla="*/ 6535757 h 6858000"/>
              <a:gd name="connsiteX82" fmla="*/ 4593672 w 5588000"/>
              <a:gd name="connsiteY82" fmla="*/ 6554577 h 6858000"/>
              <a:gd name="connsiteX83" fmla="*/ 4593672 w 5588000"/>
              <a:gd name="connsiteY83" fmla="*/ 6636965 h 6858000"/>
              <a:gd name="connsiteX84" fmla="*/ 4633563 w 5588000"/>
              <a:gd name="connsiteY84" fmla="*/ 6636965 h 6858000"/>
              <a:gd name="connsiteX85" fmla="*/ 4633585 w 5588000"/>
              <a:gd name="connsiteY85" fmla="*/ 6636943 h 6858000"/>
              <a:gd name="connsiteX86" fmla="*/ 4633585 w 5588000"/>
              <a:gd name="connsiteY86" fmla="*/ 6545535 h 6858000"/>
              <a:gd name="connsiteX87" fmla="*/ 4593315 w 5588000"/>
              <a:gd name="connsiteY87" fmla="*/ 6505666 h 6858000"/>
              <a:gd name="connsiteX88" fmla="*/ 4716618 w 5588000"/>
              <a:gd name="connsiteY88" fmla="*/ 6505266 h 6858000"/>
              <a:gd name="connsiteX89" fmla="*/ 4656815 w 5588000"/>
              <a:gd name="connsiteY89" fmla="*/ 6547028 h 6858000"/>
              <a:gd name="connsiteX90" fmla="*/ 4674121 w 5588000"/>
              <a:gd name="connsiteY90" fmla="*/ 6578255 h 6858000"/>
              <a:gd name="connsiteX91" fmla="*/ 4649665 w 5588000"/>
              <a:gd name="connsiteY91" fmla="*/ 6609860 h 6858000"/>
              <a:gd name="connsiteX92" fmla="*/ 4656058 w 5588000"/>
              <a:gd name="connsiteY92" fmla="*/ 6629794 h 6858000"/>
              <a:gd name="connsiteX93" fmla="*/ 4667729 w 5588000"/>
              <a:gd name="connsiteY93" fmla="*/ 6638080 h 6858000"/>
              <a:gd name="connsiteX94" fmla="*/ 4647037 w 5588000"/>
              <a:gd name="connsiteY94" fmla="*/ 6667436 h 6858000"/>
              <a:gd name="connsiteX95" fmla="*/ 4710604 w 5588000"/>
              <a:gd name="connsiteY95" fmla="*/ 6707683 h 6858000"/>
              <a:gd name="connsiteX96" fmla="*/ 4784706 w 5588000"/>
              <a:gd name="connsiteY96" fmla="*/ 6652758 h 6858000"/>
              <a:gd name="connsiteX97" fmla="*/ 4784706 w 5588000"/>
              <a:gd name="connsiteY97" fmla="*/ 6652735 h 6858000"/>
              <a:gd name="connsiteX98" fmla="*/ 4737666 w 5588000"/>
              <a:gd name="connsiteY98" fmla="*/ 6610239 h 6858000"/>
              <a:gd name="connsiteX99" fmla="*/ 4706060 w 5588000"/>
              <a:gd name="connsiteY99" fmla="*/ 6610239 h 6858000"/>
              <a:gd name="connsiteX100" fmla="*/ 4686505 w 5588000"/>
              <a:gd name="connsiteY100" fmla="*/ 6598946 h 6858000"/>
              <a:gd name="connsiteX101" fmla="*/ 4696283 w 5588000"/>
              <a:gd name="connsiteY101" fmla="*/ 6588032 h 6858000"/>
              <a:gd name="connsiteX102" fmla="*/ 4712096 w 5588000"/>
              <a:gd name="connsiteY102" fmla="*/ 6589903 h 6858000"/>
              <a:gd name="connsiteX103" fmla="*/ 4773057 w 5588000"/>
              <a:gd name="connsiteY103" fmla="*/ 6545892 h 6858000"/>
              <a:gd name="connsiteX104" fmla="*/ 4716618 w 5588000"/>
              <a:gd name="connsiteY104" fmla="*/ 6505266 h 6858000"/>
              <a:gd name="connsiteX105" fmla="*/ 4308733 w 5588000"/>
              <a:gd name="connsiteY105" fmla="*/ 6503395 h 6858000"/>
              <a:gd name="connsiteX106" fmla="*/ 4255322 w 5588000"/>
              <a:gd name="connsiteY106" fmla="*/ 6546270 h 6858000"/>
              <a:gd name="connsiteX107" fmla="*/ 4285035 w 5588000"/>
              <a:gd name="connsiteY107" fmla="*/ 6583155 h 6858000"/>
              <a:gd name="connsiteX108" fmla="*/ 4312119 w 5588000"/>
              <a:gd name="connsiteY108" fmla="*/ 6589547 h 6858000"/>
              <a:gd name="connsiteX109" fmla="*/ 4321540 w 5588000"/>
              <a:gd name="connsiteY109" fmla="*/ 6599325 h 6858000"/>
              <a:gd name="connsiteX110" fmla="*/ 4299334 w 5588000"/>
              <a:gd name="connsiteY110" fmla="*/ 6611753 h 6858000"/>
              <a:gd name="connsiteX111" fmla="*/ 4262851 w 5588000"/>
              <a:gd name="connsiteY111" fmla="*/ 6603111 h 6858000"/>
              <a:gd name="connsiteX112" fmla="*/ 4251937 w 5588000"/>
              <a:gd name="connsiteY112" fmla="*/ 6629059 h 6858000"/>
              <a:gd name="connsiteX113" fmla="*/ 4304991 w 5588000"/>
              <a:gd name="connsiteY113" fmla="*/ 6639216 h 6858000"/>
              <a:gd name="connsiteX114" fmla="*/ 4361431 w 5588000"/>
              <a:gd name="connsiteY114" fmla="*/ 6595961 h 6858000"/>
              <a:gd name="connsiteX115" fmla="*/ 4361386 w 5588000"/>
              <a:gd name="connsiteY115" fmla="*/ 6595961 h 6858000"/>
              <a:gd name="connsiteX116" fmla="*/ 4327910 w 5588000"/>
              <a:gd name="connsiteY116" fmla="*/ 6555692 h 6858000"/>
              <a:gd name="connsiteX117" fmla="*/ 4303454 w 5588000"/>
              <a:gd name="connsiteY117" fmla="*/ 6550057 h 6858000"/>
              <a:gd name="connsiteX118" fmla="*/ 4295547 w 5588000"/>
              <a:gd name="connsiteY118" fmla="*/ 6540658 h 6858000"/>
              <a:gd name="connsiteX119" fmla="*/ 4313989 w 5588000"/>
              <a:gd name="connsiteY119" fmla="*/ 6529744 h 6858000"/>
              <a:gd name="connsiteX120" fmla="*/ 4343345 w 5588000"/>
              <a:gd name="connsiteY120" fmla="*/ 6535379 h 6858000"/>
              <a:gd name="connsiteX121" fmla="*/ 4353502 w 5588000"/>
              <a:gd name="connsiteY121" fmla="*/ 6509409 h 6858000"/>
              <a:gd name="connsiteX122" fmla="*/ 4308733 w 5588000"/>
              <a:gd name="connsiteY122" fmla="*/ 6503395 h 6858000"/>
              <a:gd name="connsiteX123" fmla="*/ 5124949 w 5588000"/>
              <a:gd name="connsiteY123" fmla="*/ 6469183 h 6858000"/>
              <a:gd name="connsiteX124" fmla="*/ 5085080 w 5588000"/>
              <a:gd name="connsiteY124" fmla="*/ 6480475 h 6858000"/>
              <a:gd name="connsiteX125" fmla="*/ 5085080 w 5588000"/>
              <a:gd name="connsiteY125" fmla="*/ 6508673 h 6858000"/>
              <a:gd name="connsiteX126" fmla="*/ 5064767 w 5588000"/>
              <a:gd name="connsiteY126" fmla="*/ 6508673 h 6858000"/>
              <a:gd name="connsiteX127" fmla="*/ 5064767 w 5588000"/>
              <a:gd name="connsiteY127" fmla="*/ 6534265 h 6858000"/>
              <a:gd name="connsiteX128" fmla="*/ 5085080 w 5588000"/>
              <a:gd name="connsiteY128" fmla="*/ 6534265 h 6858000"/>
              <a:gd name="connsiteX129" fmla="*/ 5085080 w 5588000"/>
              <a:gd name="connsiteY129" fmla="*/ 6601596 h 6858000"/>
              <a:gd name="connsiteX130" fmla="*/ 5130584 w 5588000"/>
              <a:gd name="connsiteY130" fmla="*/ 6639594 h 6858000"/>
              <a:gd name="connsiteX131" fmla="*/ 5159939 w 5588000"/>
              <a:gd name="connsiteY131" fmla="*/ 6636587 h 6858000"/>
              <a:gd name="connsiteX132" fmla="*/ 5157289 w 5588000"/>
              <a:gd name="connsiteY132" fmla="*/ 6610616 h 6858000"/>
              <a:gd name="connsiteX133" fmla="*/ 5144883 w 5588000"/>
              <a:gd name="connsiteY133" fmla="*/ 6611752 h 6858000"/>
              <a:gd name="connsiteX134" fmla="*/ 5124949 w 5588000"/>
              <a:gd name="connsiteY134" fmla="*/ 6592197 h 6858000"/>
              <a:gd name="connsiteX135" fmla="*/ 5124949 w 5588000"/>
              <a:gd name="connsiteY135" fmla="*/ 6534265 h 6858000"/>
              <a:gd name="connsiteX136" fmla="*/ 5159939 w 5588000"/>
              <a:gd name="connsiteY136" fmla="*/ 6534265 h 6858000"/>
              <a:gd name="connsiteX137" fmla="*/ 5159939 w 5588000"/>
              <a:gd name="connsiteY137" fmla="*/ 6508673 h 6858000"/>
              <a:gd name="connsiteX138" fmla="*/ 5124949 w 5588000"/>
              <a:gd name="connsiteY138" fmla="*/ 6508673 h 6858000"/>
              <a:gd name="connsiteX139" fmla="*/ 4849186 w 5588000"/>
              <a:gd name="connsiteY139" fmla="*/ 6399469 h 6858000"/>
              <a:gd name="connsiteX140" fmla="*/ 4758936 w 5588000"/>
              <a:gd name="connsiteY140" fmla="*/ 6432878 h 6858000"/>
              <a:gd name="connsiteX141" fmla="*/ 4743568 w 5588000"/>
              <a:gd name="connsiteY141" fmla="*/ 6475331 h 6858000"/>
              <a:gd name="connsiteX142" fmla="*/ 4747622 w 5588000"/>
              <a:gd name="connsiteY142" fmla="*/ 6503773 h 6858000"/>
              <a:gd name="connsiteX143" fmla="*/ 4770206 w 5588000"/>
              <a:gd name="connsiteY143" fmla="*/ 6499720 h 6858000"/>
              <a:gd name="connsiteX144" fmla="*/ 4818026 w 5588000"/>
              <a:gd name="connsiteY144" fmla="*/ 6484374 h 6858000"/>
              <a:gd name="connsiteX145" fmla="*/ 4849164 w 5588000"/>
              <a:gd name="connsiteY145" fmla="*/ 6399514 h 6858000"/>
              <a:gd name="connsiteX146" fmla="*/ 4345362 w 5588000"/>
              <a:gd name="connsiteY146" fmla="*/ 1926976 h 6858000"/>
              <a:gd name="connsiteX147" fmla="*/ 3959056 w 5588000"/>
              <a:gd name="connsiteY147" fmla="*/ 3247844 h 6858000"/>
              <a:gd name="connsiteX148" fmla="*/ 3471142 w 5588000"/>
              <a:gd name="connsiteY148" fmla="*/ 4474068 h 6858000"/>
              <a:gd name="connsiteX149" fmla="*/ 2022018 w 5588000"/>
              <a:gd name="connsiteY149" fmla="*/ 4945500 h 6858000"/>
              <a:gd name="connsiteX150" fmla="*/ 1968925 w 5588000"/>
              <a:gd name="connsiteY150" fmla="*/ 4945500 h 6858000"/>
              <a:gd name="connsiteX151" fmla="*/ 1312094 w 5588000"/>
              <a:gd name="connsiteY151" fmla="*/ 5019895 h 6858000"/>
              <a:gd name="connsiteX152" fmla="*/ 1230736 w 5588000"/>
              <a:gd name="connsiteY152" fmla="*/ 4284095 h 6858000"/>
              <a:gd name="connsiteX153" fmla="*/ 1702087 w 5588000"/>
              <a:gd name="connsiteY153" fmla="*/ 2964037 h 6858000"/>
              <a:gd name="connsiteX154" fmla="*/ 4345362 w 5588000"/>
              <a:gd name="connsiteY154" fmla="*/ 1926976 h 6858000"/>
              <a:gd name="connsiteX155" fmla="*/ 4953879 w 5588000"/>
              <a:gd name="connsiteY155" fmla="*/ 1508757 h 6858000"/>
              <a:gd name="connsiteX156" fmla="*/ 4617588 w 5588000"/>
              <a:gd name="connsiteY156" fmla="*/ 1556585 h 6858000"/>
              <a:gd name="connsiteX157" fmla="*/ 1471250 w 5588000"/>
              <a:gd name="connsiteY157" fmla="*/ 2732958 h 6858000"/>
              <a:gd name="connsiteX158" fmla="*/ 904122 w 5588000"/>
              <a:gd name="connsiteY158" fmla="*/ 4284095 h 6858000"/>
              <a:gd name="connsiteX159" fmla="*/ 1049145 w 5588000"/>
              <a:gd name="connsiteY159" fmla="*/ 5295399 h 6858000"/>
              <a:gd name="connsiteX160" fmla="*/ 1118962 w 5588000"/>
              <a:gd name="connsiteY160" fmla="*/ 5516879 h 6858000"/>
              <a:gd name="connsiteX161" fmla="*/ 1151199 w 5588000"/>
              <a:gd name="connsiteY161" fmla="*/ 5486873 h 6858000"/>
              <a:gd name="connsiteX162" fmla="*/ 1313796 w 5588000"/>
              <a:gd name="connsiteY162" fmla="*/ 5369591 h 6858000"/>
              <a:gd name="connsiteX163" fmla="*/ 1968925 w 5588000"/>
              <a:gd name="connsiteY163" fmla="*/ 5272073 h 6858000"/>
              <a:gd name="connsiteX164" fmla="*/ 2021694 w 5588000"/>
              <a:gd name="connsiteY164" fmla="*/ 5272073 h 6858000"/>
              <a:gd name="connsiteX165" fmla="*/ 3702141 w 5588000"/>
              <a:gd name="connsiteY165" fmla="*/ 4704986 h 6858000"/>
              <a:gd name="connsiteX166" fmla="*/ 4279838 w 5588000"/>
              <a:gd name="connsiteY166" fmla="*/ 3309399 h 6858000"/>
              <a:gd name="connsiteX167" fmla="*/ 4781278 w 5588000"/>
              <a:gd name="connsiteY167" fmla="*/ 1801231 h 6858000"/>
              <a:gd name="connsiteX168" fmla="*/ 0 w 5588000"/>
              <a:gd name="connsiteY168" fmla="*/ 0 h 6858000"/>
              <a:gd name="connsiteX169" fmla="*/ 5588000 w 5588000"/>
              <a:gd name="connsiteY169" fmla="*/ 0 h 6858000"/>
              <a:gd name="connsiteX170" fmla="*/ 5588000 w 5588000"/>
              <a:gd name="connsiteY170" fmla="*/ 6858000 h 6858000"/>
              <a:gd name="connsiteX171" fmla="*/ 0 w 5588000"/>
              <a:gd name="connsiteY17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</a:cxnLst>
            <a:rect l="l" t="t" r="r" b="b"/>
            <a:pathLst>
              <a:path w="5588000" h="6858000">
                <a:moveTo>
                  <a:pt x="4692919" y="6643759"/>
                </a:moveTo>
                <a:lnTo>
                  <a:pt x="4727910" y="6643759"/>
                </a:lnTo>
                <a:cubicBezTo>
                  <a:pt x="4736463" y="6643759"/>
                  <a:pt x="4744838" y="6647568"/>
                  <a:pt x="4744838" y="6658036"/>
                </a:cubicBezTo>
                <a:cubicBezTo>
                  <a:pt x="4744838" y="6672469"/>
                  <a:pt x="4730405" y="6681000"/>
                  <a:pt x="4712475" y="6681000"/>
                </a:cubicBezTo>
                <a:cubicBezTo>
                  <a:pt x="4694545" y="6681000"/>
                  <a:pt x="4679377" y="6673449"/>
                  <a:pt x="4679377" y="6662179"/>
                </a:cubicBezTo>
                <a:cubicBezTo>
                  <a:pt x="4679377" y="6653470"/>
                  <a:pt x="4687596" y="6646788"/>
                  <a:pt x="4692919" y="6643759"/>
                </a:cubicBezTo>
                <a:close/>
                <a:moveTo>
                  <a:pt x="5243574" y="6579034"/>
                </a:moveTo>
                <a:lnTo>
                  <a:pt x="5243574" y="6602732"/>
                </a:lnTo>
                <a:cubicBezTo>
                  <a:pt x="5238674" y="6608367"/>
                  <a:pt x="5232281" y="6612510"/>
                  <a:pt x="5224018" y="6612510"/>
                </a:cubicBezTo>
                <a:cubicBezTo>
                  <a:pt x="5217047" y="6612510"/>
                  <a:pt x="5207848" y="6609102"/>
                  <a:pt x="5207848" y="6598211"/>
                </a:cubicBezTo>
                <a:cubicBezTo>
                  <a:pt x="5207848" y="6580571"/>
                  <a:pt x="5225109" y="6578744"/>
                  <a:pt x="5243574" y="6579034"/>
                </a:cubicBezTo>
                <a:close/>
                <a:moveTo>
                  <a:pt x="4850835" y="6532750"/>
                </a:moveTo>
                <a:cubicBezTo>
                  <a:pt x="4864711" y="6532750"/>
                  <a:pt x="4871816" y="6541570"/>
                  <a:pt x="4871126" y="6555691"/>
                </a:cubicBezTo>
                <a:lnTo>
                  <a:pt x="4827114" y="6555691"/>
                </a:lnTo>
                <a:cubicBezTo>
                  <a:pt x="4829386" y="6542617"/>
                  <a:pt x="4836959" y="6532750"/>
                  <a:pt x="4850835" y="6532750"/>
                </a:cubicBezTo>
                <a:close/>
                <a:moveTo>
                  <a:pt x="4715125" y="6528252"/>
                </a:moveTo>
                <a:cubicBezTo>
                  <a:pt x="4728378" y="6528252"/>
                  <a:pt x="4734302" y="6537050"/>
                  <a:pt x="4734302" y="6547807"/>
                </a:cubicBezTo>
                <a:cubicBezTo>
                  <a:pt x="4734302" y="6558521"/>
                  <a:pt x="4727665" y="6567363"/>
                  <a:pt x="4714368" y="6567363"/>
                </a:cubicBezTo>
                <a:cubicBezTo>
                  <a:pt x="4702274" y="6567363"/>
                  <a:pt x="4695570" y="6558565"/>
                  <a:pt x="4695570" y="6547807"/>
                </a:cubicBezTo>
                <a:cubicBezTo>
                  <a:pt x="4695570" y="6538475"/>
                  <a:pt x="4703009" y="6528252"/>
                  <a:pt x="4715125" y="6528252"/>
                </a:cubicBezTo>
                <a:close/>
                <a:moveTo>
                  <a:pt x="4361988" y="6508673"/>
                </a:moveTo>
                <a:lnTo>
                  <a:pt x="4411657" y="6636965"/>
                </a:lnTo>
                <a:lnTo>
                  <a:pt x="4407893" y="6645986"/>
                </a:lnTo>
                <a:cubicBezTo>
                  <a:pt x="4400097" y="6664717"/>
                  <a:pt x="4391589" y="6678349"/>
                  <a:pt x="4375530" y="6678349"/>
                </a:cubicBezTo>
                <a:cubicBezTo>
                  <a:pt x="4370630" y="6678349"/>
                  <a:pt x="4365307" y="6677703"/>
                  <a:pt x="4358224" y="6676099"/>
                </a:cubicBezTo>
                <a:lnTo>
                  <a:pt x="4352589" y="6701668"/>
                </a:lnTo>
                <a:cubicBezTo>
                  <a:pt x="4361365" y="6703673"/>
                  <a:pt x="4368470" y="6705432"/>
                  <a:pt x="4381922" y="6705432"/>
                </a:cubicBezTo>
                <a:cubicBezTo>
                  <a:pt x="4408806" y="6705432"/>
                  <a:pt x="4428540" y="6687926"/>
                  <a:pt x="4438362" y="6664049"/>
                </a:cubicBezTo>
                <a:lnTo>
                  <a:pt x="4502308" y="6508673"/>
                </a:lnTo>
                <a:lnTo>
                  <a:pt x="4502286" y="6508673"/>
                </a:lnTo>
                <a:lnTo>
                  <a:pt x="4465045" y="6508673"/>
                </a:lnTo>
                <a:lnTo>
                  <a:pt x="4440968" y="6571126"/>
                </a:lnTo>
                <a:cubicBezTo>
                  <a:pt x="4438117" y="6578521"/>
                  <a:pt x="4435288" y="6587742"/>
                  <a:pt x="4433818" y="6593333"/>
                </a:cubicBezTo>
                <a:cubicBezTo>
                  <a:pt x="4432571" y="6587787"/>
                  <a:pt x="4430990" y="6579947"/>
                  <a:pt x="4428183" y="6572262"/>
                </a:cubicBezTo>
                <a:lnTo>
                  <a:pt x="4404864" y="6508673"/>
                </a:lnTo>
                <a:close/>
                <a:moveTo>
                  <a:pt x="5231925" y="6505689"/>
                </a:moveTo>
                <a:cubicBezTo>
                  <a:pt x="5211968" y="6505689"/>
                  <a:pt x="5190920" y="6512282"/>
                  <a:pt x="5173993" y="6521481"/>
                </a:cubicBezTo>
                <a:lnTo>
                  <a:pt x="5183771" y="6545179"/>
                </a:lnTo>
                <a:cubicBezTo>
                  <a:pt x="5193304" y="6539455"/>
                  <a:pt x="5207848" y="6533129"/>
                  <a:pt x="5220655" y="6533129"/>
                </a:cubicBezTo>
                <a:cubicBezTo>
                  <a:pt x="5239587" y="6533129"/>
                  <a:pt x="5243574" y="6540613"/>
                  <a:pt x="5243574" y="6551193"/>
                </a:cubicBezTo>
                <a:lnTo>
                  <a:pt x="5243574" y="6554578"/>
                </a:lnTo>
                <a:cubicBezTo>
                  <a:pt x="5210409" y="6554734"/>
                  <a:pt x="5167957" y="6561349"/>
                  <a:pt x="5167957" y="6603868"/>
                </a:cubicBezTo>
                <a:cubicBezTo>
                  <a:pt x="5167957" y="6628034"/>
                  <a:pt x="5184350" y="6639594"/>
                  <a:pt x="5208204" y="6639594"/>
                </a:cubicBezTo>
                <a:cubicBezTo>
                  <a:pt x="5222281" y="6639594"/>
                  <a:pt x="5234932" y="6635451"/>
                  <a:pt x="5244710" y="6626809"/>
                </a:cubicBezTo>
                <a:lnTo>
                  <a:pt x="5244710" y="6636966"/>
                </a:lnTo>
                <a:lnTo>
                  <a:pt x="5282329" y="6636966"/>
                </a:lnTo>
                <a:lnTo>
                  <a:pt x="5282351" y="6636988"/>
                </a:lnTo>
                <a:lnTo>
                  <a:pt x="5282351" y="6545936"/>
                </a:lnTo>
                <a:cubicBezTo>
                  <a:pt x="5282351" y="6520322"/>
                  <a:pt x="5262550" y="6505689"/>
                  <a:pt x="5231925" y="6505689"/>
                </a:cubicBezTo>
                <a:close/>
                <a:moveTo>
                  <a:pt x="5012380" y="6505666"/>
                </a:moveTo>
                <a:cubicBezTo>
                  <a:pt x="4996255" y="6505666"/>
                  <a:pt x="4981376" y="6511234"/>
                  <a:pt x="4968369" y="6519965"/>
                </a:cubicBezTo>
                <a:lnTo>
                  <a:pt x="4968369" y="6508673"/>
                </a:lnTo>
                <a:lnTo>
                  <a:pt x="4929614" y="6508673"/>
                </a:lnTo>
                <a:lnTo>
                  <a:pt x="4929614" y="6636943"/>
                </a:lnTo>
                <a:lnTo>
                  <a:pt x="4969505" y="6636943"/>
                </a:lnTo>
                <a:lnTo>
                  <a:pt x="4969505" y="6546671"/>
                </a:lnTo>
                <a:cubicBezTo>
                  <a:pt x="4976944" y="6540724"/>
                  <a:pt x="4983626" y="6535757"/>
                  <a:pt x="4993938" y="6535757"/>
                </a:cubicBezTo>
                <a:cubicBezTo>
                  <a:pt x="5007636" y="6535757"/>
                  <a:pt x="5012737" y="6542461"/>
                  <a:pt x="5012737" y="6554577"/>
                </a:cubicBezTo>
                <a:lnTo>
                  <a:pt x="5012737" y="6636965"/>
                </a:lnTo>
                <a:lnTo>
                  <a:pt x="5052628" y="6636965"/>
                </a:lnTo>
                <a:lnTo>
                  <a:pt x="5052628" y="6636943"/>
                </a:lnTo>
                <a:lnTo>
                  <a:pt x="5052628" y="6545535"/>
                </a:lnTo>
                <a:cubicBezTo>
                  <a:pt x="5052628" y="6521480"/>
                  <a:pt x="5037816" y="6505666"/>
                  <a:pt x="5012380" y="6505666"/>
                </a:cubicBezTo>
                <a:close/>
                <a:moveTo>
                  <a:pt x="4852350" y="6505666"/>
                </a:moveTo>
                <a:cubicBezTo>
                  <a:pt x="4817203" y="6505666"/>
                  <a:pt x="4784662" y="6532059"/>
                  <a:pt x="4784662" y="6572997"/>
                </a:cubicBezTo>
                <a:cubicBezTo>
                  <a:pt x="4784662" y="6613935"/>
                  <a:pt x="4809496" y="6639593"/>
                  <a:pt x="4849343" y="6639593"/>
                </a:cubicBezTo>
                <a:cubicBezTo>
                  <a:pt x="4870413" y="6639593"/>
                  <a:pt x="4889323" y="6634448"/>
                  <a:pt x="4906896" y="6624915"/>
                </a:cubicBezTo>
                <a:lnTo>
                  <a:pt x="4896361" y="6601217"/>
                </a:lnTo>
                <a:cubicBezTo>
                  <a:pt x="4890147" y="6605516"/>
                  <a:pt x="4875669" y="6610995"/>
                  <a:pt x="4863620" y="6610995"/>
                </a:cubicBezTo>
                <a:cubicBezTo>
                  <a:pt x="4836424" y="6610995"/>
                  <a:pt x="4827114" y="6599947"/>
                  <a:pt x="4826758" y="6581283"/>
                </a:cubicBezTo>
                <a:lnTo>
                  <a:pt x="4911774" y="6581283"/>
                </a:lnTo>
                <a:cubicBezTo>
                  <a:pt x="4912019" y="6576739"/>
                  <a:pt x="4912152" y="6572374"/>
                  <a:pt x="4912152" y="6568119"/>
                </a:cubicBezTo>
                <a:lnTo>
                  <a:pt x="4912175" y="6568119"/>
                </a:lnTo>
                <a:cubicBezTo>
                  <a:pt x="4912175" y="6531258"/>
                  <a:pt x="4896138" y="6505666"/>
                  <a:pt x="4852350" y="6505666"/>
                </a:cubicBezTo>
                <a:close/>
                <a:moveTo>
                  <a:pt x="4593315" y="6505666"/>
                </a:moveTo>
                <a:cubicBezTo>
                  <a:pt x="4577190" y="6505666"/>
                  <a:pt x="4562289" y="6511234"/>
                  <a:pt x="4549304" y="6519965"/>
                </a:cubicBezTo>
                <a:lnTo>
                  <a:pt x="4549304" y="6508673"/>
                </a:lnTo>
                <a:lnTo>
                  <a:pt x="4510549" y="6508673"/>
                </a:lnTo>
                <a:lnTo>
                  <a:pt x="4510549" y="6636943"/>
                </a:lnTo>
                <a:lnTo>
                  <a:pt x="4550418" y="6636943"/>
                </a:lnTo>
                <a:lnTo>
                  <a:pt x="4550418" y="6546671"/>
                </a:lnTo>
                <a:cubicBezTo>
                  <a:pt x="4557879" y="6540724"/>
                  <a:pt x="4564561" y="6535757"/>
                  <a:pt x="4574873" y="6535757"/>
                </a:cubicBezTo>
                <a:cubicBezTo>
                  <a:pt x="4588571" y="6535757"/>
                  <a:pt x="4593672" y="6542461"/>
                  <a:pt x="4593672" y="6554577"/>
                </a:cubicBezTo>
                <a:lnTo>
                  <a:pt x="4593672" y="6636965"/>
                </a:lnTo>
                <a:lnTo>
                  <a:pt x="4633563" y="6636965"/>
                </a:lnTo>
                <a:lnTo>
                  <a:pt x="4633585" y="6636943"/>
                </a:lnTo>
                <a:lnTo>
                  <a:pt x="4633585" y="6545535"/>
                </a:lnTo>
                <a:cubicBezTo>
                  <a:pt x="4633585" y="6521480"/>
                  <a:pt x="4618751" y="6505666"/>
                  <a:pt x="4593315" y="6505666"/>
                </a:cubicBezTo>
                <a:close/>
                <a:moveTo>
                  <a:pt x="4716618" y="6505266"/>
                </a:moveTo>
                <a:cubicBezTo>
                  <a:pt x="4682741" y="6505266"/>
                  <a:pt x="4656815" y="6519677"/>
                  <a:pt x="4656815" y="6547028"/>
                </a:cubicBezTo>
                <a:cubicBezTo>
                  <a:pt x="4656815" y="6568054"/>
                  <a:pt x="4666682" y="6574334"/>
                  <a:pt x="4674121" y="6578255"/>
                </a:cubicBezTo>
                <a:cubicBezTo>
                  <a:pt x="4660735" y="6585716"/>
                  <a:pt x="4649665" y="6597320"/>
                  <a:pt x="4649665" y="6609860"/>
                </a:cubicBezTo>
                <a:cubicBezTo>
                  <a:pt x="4649665" y="6619816"/>
                  <a:pt x="4652494" y="6625741"/>
                  <a:pt x="4656058" y="6629794"/>
                </a:cubicBezTo>
                <a:cubicBezTo>
                  <a:pt x="4659443" y="6633647"/>
                  <a:pt x="4663408" y="6635607"/>
                  <a:pt x="4667729" y="6638080"/>
                </a:cubicBezTo>
                <a:cubicBezTo>
                  <a:pt x="4659911" y="6643158"/>
                  <a:pt x="4647037" y="6652891"/>
                  <a:pt x="4647037" y="6667436"/>
                </a:cubicBezTo>
                <a:cubicBezTo>
                  <a:pt x="4647037" y="6698529"/>
                  <a:pt x="4678219" y="6707839"/>
                  <a:pt x="4710604" y="6707683"/>
                </a:cubicBezTo>
                <a:cubicBezTo>
                  <a:pt x="4747399" y="6707505"/>
                  <a:pt x="4784706" y="6690176"/>
                  <a:pt x="4784706" y="6652758"/>
                </a:cubicBezTo>
                <a:lnTo>
                  <a:pt x="4784706" y="6652735"/>
                </a:lnTo>
                <a:cubicBezTo>
                  <a:pt x="4784706" y="6624449"/>
                  <a:pt x="4766977" y="6610239"/>
                  <a:pt x="4737666" y="6610239"/>
                </a:cubicBezTo>
                <a:lnTo>
                  <a:pt x="4706060" y="6610239"/>
                </a:lnTo>
                <a:cubicBezTo>
                  <a:pt x="4699958" y="6610239"/>
                  <a:pt x="4686505" y="6608791"/>
                  <a:pt x="4686505" y="6598946"/>
                </a:cubicBezTo>
                <a:cubicBezTo>
                  <a:pt x="4686505" y="6594091"/>
                  <a:pt x="4693031" y="6589770"/>
                  <a:pt x="4696283" y="6588032"/>
                </a:cubicBezTo>
                <a:cubicBezTo>
                  <a:pt x="4701272" y="6589012"/>
                  <a:pt x="4706394" y="6589903"/>
                  <a:pt x="4712096" y="6589903"/>
                </a:cubicBezTo>
                <a:cubicBezTo>
                  <a:pt x="4742766" y="6589903"/>
                  <a:pt x="4773057" y="6579635"/>
                  <a:pt x="4773057" y="6545892"/>
                </a:cubicBezTo>
                <a:cubicBezTo>
                  <a:pt x="4773057" y="6512148"/>
                  <a:pt x="4745417" y="6505266"/>
                  <a:pt x="4716618" y="6505266"/>
                </a:cubicBezTo>
                <a:close/>
                <a:moveTo>
                  <a:pt x="4308733" y="6503395"/>
                </a:moveTo>
                <a:cubicBezTo>
                  <a:pt x="4277885" y="6503395"/>
                  <a:pt x="4255322" y="6519832"/>
                  <a:pt x="4255322" y="6546270"/>
                </a:cubicBezTo>
                <a:cubicBezTo>
                  <a:pt x="4255322" y="6570147"/>
                  <a:pt x="4268775" y="6578678"/>
                  <a:pt x="4285035" y="6583155"/>
                </a:cubicBezTo>
                <a:cubicBezTo>
                  <a:pt x="4292763" y="6585270"/>
                  <a:pt x="4304479" y="6587297"/>
                  <a:pt x="4312119" y="6589547"/>
                </a:cubicBezTo>
                <a:cubicBezTo>
                  <a:pt x="4318221" y="6591351"/>
                  <a:pt x="4321540" y="6594068"/>
                  <a:pt x="4321540" y="6599325"/>
                </a:cubicBezTo>
                <a:cubicBezTo>
                  <a:pt x="4321540" y="6610617"/>
                  <a:pt x="4308577" y="6611753"/>
                  <a:pt x="4299334" y="6611753"/>
                </a:cubicBezTo>
                <a:cubicBezTo>
                  <a:pt x="4287485" y="6611753"/>
                  <a:pt x="4272940" y="6607209"/>
                  <a:pt x="4262851" y="6603111"/>
                </a:cubicBezTo>
                <a:lnTo>
                  <a:pt x="4251937" y="6629059"/>
                </a:lnTo>
                <a:cubicBezTo>
                  <a:pt x="4268954" y="6635875"/>
                  <a:pt x="4285057" y="6639216"/>
                  <a:pt x="4304991" y="6639216"/>
                </a:cubicBezTo>
                <a:cubicBezTo>
                  <a:pt x="4335639" y="6639216"/>
                  <a:pt x="4361431" y="6623892"/>
                  <a:pt x="4361431" y="6595961"/>
                </a:cubicBezTo>
                <a:lnTo>
                  <a:pt x="4361386" y="6595961"/>
                </a:lnTo>
                <a:cubicBezTo>
                  <a:pt x="4361386" y="6569189"/>
                  <a:pt x="4344904" y="6559434"/>
                  <a:pt x="4327910" y="6555692"/>
                </a:cubicBezTo>
                <a:cubicBezTo>
                  <a:pt x="4319602" y="6553866"/>
                  <a:pt x="4309713" y="6552084"/>
                  <a:pt x="4303454" y="6550057"/>
                </a:cubicBezTo>
                <a:cubicBezTo>
                  <a:pt x="4297619" y="6548186"/>
                  <a:pt x="4295547" y="6543976"/>
                  <a:pt x="4295547" y="6540658"/>
                </a:cubicBezTo>
                <a:cubicBezTo>
                  <a:pt x="4295547" y="6533931"/>
                  <a:pt x="4303031" y="6529744"/>
                  <a:pt x="4313989" y="6529744"/>
                </a:cubicBezTo>
                <a:cubicBezTo>
                  <a:pt x="4324101" y="6529744"/>
                  <a:pt x="4338289" y="6533085"/>
                  <a:pt x="4343345" y="6535379"/>
                </a:cubicBezTo>
                <a:lnTo>
                  <a:pt x="4353502" y="6509409"/>
                </a:lnTo>
                <a:cubicBezTo>
                  <a:pt x="4342053" y="6506090"/>
                  <a:pt x="4329113" y="6503395"/>
                  <a:pt x="4308733" y="6503395"/>
                </a:cubicBezTo>
                <a:close/>
                <a:moveTo>
                  <a:pt x="5124949" y="6469183"/>
                </a:moveTo>
                <a:lnTo>
                  <a:pt x="5085080" y="6480475"/>
                </a:lnTo>
                <a:lnTo>
                  <a:pt x="5085080" y="6508673"/>
                </a:lnTo>
                <a:lnTo>
                  <a:pt x="5064767" y="6508673"/>
                </a:lnTo>
                <a:lnTo>
                  <a:pt x="5064767" y="6534265"/>
                </a:lnTo>
                <a:lnTo>
                  <a:pt x="5085080" y="6534265"/>
                </a:lnTo>
                <a:lnTo>
                  <a:pt x="5085080" y="6601596"/>
                </a:lnTo>
                <a:cubicBezTo>
                  <a:pt x="5085080" y="6631174"/>
                  <a:pt x="5106484" y="6639594"/>
                  <a:pt x="5130584" y="6639594"/>
                </a:cubicBezTo>
                <a:cubicBezTo>
                  <a:pt x="5138535" y="6639594"/>
                  <a:pt x="5150785" y="6638213"/>
                  <a:pt x="5159939" y="6636587"/>
                </a:cubicBezTo>
                <a:lnTo>
                  <a:pt x="5157289" y="6610616"/>
                </a:lnTo>
                <a:cubicBezTo>
                  <a:pt x="5153035" y="6611195"/>
                  <a:pt x="5148803" y="6611752"/>
                  <a:pt x="5144883" y="6611752"/>
                </a:cubicBezTo>
                <a:cubicBezTo>
                  <a:pt x="5133635" y="6611752"/>
                  <a:pt x="5124949" y="6608701"/>
                  <a:pt x="5124949" y="6592197"/>
                </a:cubicBezTo>
                <a:lnTo>
                  <a:pt x="5124949" y="6534265"/>
                </a:lnTo>
                <a:lnTo>
                  <a:pt x="5159939" y="6534265"/>
                </a:lnTo>
                <a:lnTo>
                  <a:pt x="5159939" y="6508673"/>
                </a:lnTo>
                <a:lnTo>
                  <a:pt x="5124949" y="6508673"/>
                </a:lnTo>
                <a:close/>
                <a:moveTo>
                  <a:pt x="4849186" y="6399469"/>
                </a:moveTo>
                <a:cubicBezTo>
                  <a:pt x="4821924" y="6403367"/>
                  <a:pt x="4781343" y="6410472"/>
                  <a:pt x="4758936" y="6432878"/>
                </a:cubicBezTo>
                <a:cubicBezTo>
                  <a:pt x="4747221" y="6444572"/>
                  <a:pt x="4743568" y="6459049"/>
                  <a:pt x="4743568" y="6475331"/>
                </a:cubicBezTo>
                <a:cubicBezTo>
                  <a:pt x="4743568" y="6484797"/>
                  <a:pt x="4744793" y="6494731"/>
                  <a:pt x="4747622" y="6503773"/>
                </a:cubicBezTo>
                <a:cubicBezTo>
                  <a:pt x="4752522" y="6500232"/>
                  <a:pt x="4764193" y="6499720"/>
                  <a:pt x="4770206" y="6499720"/>
                </a:cubicBezTo>
                <a:cubicBezTo>
                  <a:pt x="4787490" y="6499720"/>
                  <a:pt x="4802168" y="6500232"/>
                  <a:pt x="4818026" y="6484374"/>
                </a:cubicBezTo>
                <a:cubicBezTo>
                  <a:pt x="4837760" y="6464662"/>
                  <a:pt x="4828985" y="6433703"/>
                  <a:pt x="4849164" y="6399514"/>
                </a:cubicBezTo>
                <a:close/>
                <a:moveTo>
                  <a:pt x="4345362" y="1926976"/>
                </a:moveTo>
                <a:cubicBezTo>
                  <a:pt x="4122261" y="2399501"/>
                  <a:pt x="4035718" y="2849307"/>
                  <a:pt x="3959056" y="3247844"/>
                </a:cubicBezTo>
                <a:cubicBezTo>
                  <a:pt x="3864616" y="3738592"/>
                  <a:pt x="3783054" y="4162440"/>
                  <a:pt x="3471142" y="4474068"/>
                </a:cubicBezTo>
                <a:cubicBezTo>
                  <a:pt x="2999224" y="4946512"/>
                  <a:pt x="2567560" y="4946109"/>
                  <a:pt x="2022018" y="4945500"/>
                </a:cubicBezTo>
                <a:lnTo>
                  <a:pt x="1968925" y="4945500"/>
                </a:lnTo>
                <a:cubicBezTo>
                  <a:pt x="1779396" y="4945500"/>
                  <a:pt x="1515596" y="4958661"/>
                  <a:pt x="1312094" y="5019895"/>
                </a:cubicBezTo>
                <a:cubicBezTo>
                  <a:pt x="1258841" y="4793676"/>
                  <a:pt x="1230736" y="4539999"/>
                  <a:pt x="1230736" y="4284095"/>
                </a:cubicBezTo>
                <a:cubicBezTo>
                  <a:pt x="1230736" y="3704534"/>
                  <a:pt x="1380496" y="3285060"/>
                  <a:pt x="1702087" y="2964037"/>
                </a:cubicBezTo>
                <a:cubicBezTo>
                  <a:pt x="2197656" y="2468387"/>
                  <a:pt x="3062602" y="2128978"/>
                  <a:pt x="4345362" y="1926976"/>
                </a:cubicBezTo>
                <a:close/>
                <a:moveTo>
                  <a:pt x="4953879" y="1508757"/>
                </a:moveTo>
                <a:lnTo>
                  <a:pt x="4617588" y="1556585"/>
                </a:lnTo>
                <a:cubicBezTo>
                  <a:pt x="3481874" y="1718129"/>
                  <a:pt x="2219889" y="1984240"/>
                  <a:pt x="1471250" y="2732958"/>
                </a:cubicBezTo>
                <a:cubicBezTo>
                  <a:pt x="1084337" y="3119224"/>
                  <a:pt x="904122" y="3612119"/>
                  <a:pt x="904122" y="4284095"/>
                </a:cubicBezTo>
                <a:cubicBezTo>
                  <a:pt x="904122" y="4644644"/>
                  <a:pt x="954259" y="4994341"/>
                  <a:pt x="1049145" y="5295399"/>
                </a:cubicBezTo>
                <a:lnTo>
                  <a:pt x="1118962" y="5516879"/>
                </a:lnTo>
                <a:lnTo>
                  <a:pt x="1151199" y="5486873"/>
                </a:lnTo>
                <a:cubicBezTo>
                  <a:pt x="1151927" y="5486223"/>
                  <a:pt x="1223244" y="5420213"/>
                  <a:pt x="1313796" y="5369591"/>
                </a:cubicBezTo>
                <a:cubicBezTo>
                  <a:pt x="1426178" y="5306698"/>
                  <a:pt x="1658876" y="5272073"/>
                  <a:pt x="1968925" y="5272073"/>
                </a:cubicBezTo>
                <a:lnTo>
                  <a:pt x="2021694" y="5272073"/>
                </a:lnTo>
                <a:cubicBezTo>
                  <a:pt x="2593641" y="5272842"/>
                  <a:pt x="3134162" y="5273531"/>
                  <a:pt x="3702141" y="4704986"/>
                </a:cubicBezTo>
                <a:cubicBezTo>
                  <a:pt x="4084882" y="4322567"/>
                  <a:pt x="4179566" y="3830441"/>
                  <a:pt x="4279838" y="3309399"/>
                </a:cubicBezTo>
                <a:cubicBezTo>
                  <a:pt x="4367962" y="2851333"/>
                  <a:pt x="4467868" y="2332194"/>
                  <a:pt x="4781278" y="1801231"/>
                </a:cubicBezTo>
                <a:close/>
                <a:moveTo>
                  <a:pt x="0" y="0"/>
                </a:moveTo>
                <a:lnTo>
                  <a:pt x="5588000" y="0"/>
                </a:lnTo>
                <a:lnTo>
                  <a:pt x="5588000" y="6858000"/>
                </a:lnTo>
                <a:lnTo>
                  <a:pt x="0" y="6858000"/>
                </a:lnTo>
                <a:close/>
              </a:path>
            </a:pathLst>
          </a:custGeom>
          <a:pattFill prst="ltVert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ctr">
            <a:noAutofit/>
          </a:bodyPr>
          <a:lstStyle>
            <a:lvl1pPr>
              <a:defRPr lang="en-US"/>
            </a:lvl1pPr>
          </a:lstStyle>
          <a:p>
            <a:pPr lvl="0" algn="ctr"/>
            <a:r>
              <a:rPr lang="ru-RU"/>
              <a:t>Вставка рисунка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45EF6F-D324-8F62-A414-007E7E3AA6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28601"/>
            <a:ext cx="5376671" cy="77724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75B43B-150C-EA3B-3E33-D87A571BBA4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GB"/>
              <a:t>Classification: INTERNAL USE ONLY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3F7F2B-4329-EED5-D314-FB83606932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95D00A-BA34-4D39-8C84-2534822D643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D05AE30-D84D-2CB8-14BA-8BC4049FB3A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2849878"/>
            <a:ext cx="5376863" cy="339852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28186E9C-E03B-59B2-B8DB-536D40D622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4800" y="1589249"/>
            <a:ext cx="5376671" cy="1013790"/>
          </a:xfrm>
        </p:spPr>
        <p:txBody>
          <a:bodyPr/>
          <a:lstStyle>
            <a:lvl1pPr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Key message</a:t>
            </a:r>
          </a:p>
        </p:txBody>
      </p:sp>
    </p:spTree>
    <p:extLst>
      <p:ext uri="{BB962C8B-B14F-4D97-AF65-F5344CB8AC3E}">
        <p14:creationId xmlns:p14="http://schemas.microsoft.com/office/powerpoint/2010/main" val="1128343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ntent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4">
            <a:extLst>
              <a:ext uri="{FF2B5EF4-FFF2-40B4-BE49-F238E27FC236}">
                <a16:creationId xmlns:a16="http://schemas.microsoft.com/office/drawing/2014/main" id="{5424AF07-3869-9D28-682B-76EA744FBAB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17502" y="1589248"/>
            <a:ext cx="7058658" cy="4659152"/>
          </a:xfrm>
          <a:prstGeom prst="roundRect">
            <a:avLst>
              <a:gd name="adj" fmla="val 3976"/>
            </a:avLst>
          </a:prstGeom>
          <a:pattFill prst="ltVert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50800"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ru-RU"/>
              <a:t>Вставка рисунка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531EBD-32EE-BE19-6E8B-E4CA8A1288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28601"/>
            <a:ext cx="11582398" cy="77724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4EBCFAB-32A7-2282-9090-E52467654DE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GB" dirty="0"/>
              <a:t>Classification: INTERNAL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3F0C4C-540F-EF3C-0DCD-F8A673AFC01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95D00A-BA34-4D39-8C84-2534822D643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66EB644-FD96-ACF3-B9F9-1F2198ACFB2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772400" y="2849879"/>
            <a:ext cx="4114800" cy="339852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5771277-C252-16C2-3CBA-63B694080E6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65320" y="4221481"/>
            <a:ext cx="2666090" cy="1798319"/>
          </a:xfrm>
        </p:spPr>
        <p:txBody>
          <a:bodyPr/>
          <a:lstStyle>
            <a:lvl1pPr algn="r">
              <a:defRPr sz="8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85%</a:t>
            </a:r>
            <a:br>
              <a:rPr lang="en-US" dirty="0"/>
            </a:br>
            <a:endParaRPr lang="en-US" dirty="0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399D8A65-6BA5-BA88-DA18-1602725541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772400" y="1589249"/>
            <a:ext cx="4114800" cy="1013790"/>
          </a:xfrm>
        </p:spPr>
        <p:txBody>
          <a:bodyPr/>
          <a:lstStyle>
            <a:lvl1pPr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Key message</a:t>
            </a:r>
          </a:p>
        </p:txBody>
      </p:sp>
    </p:spTree>
    <p:extLst>
      <p:ext uri="{BB962C8B-B14F-4D97-AF65-F5344CB8AC3E}">
        <p14:creationId xmlns:p14="http://schemas.microsoft.com/office/powerpoint/2010/main" val="287757197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hree items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E6067F-E6C2-1D78-D52C-2DE3098345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EF3A948-D831-8D92-5A3E-25494746A30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GB"/>
              <a:t>Classification: INTERNAL USE ONLY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DA9ECB-FB86-8788-0A98-44C80A4320B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95D00A-BA34-4D39-8C84-2534822D643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Picture Placeholder 22">
            <a:extLst>
              <a:ext uri="{FF2B5EF4-FFF2-40B4-BE49-F238E27FC236}">
                <a16:creationId xmlns:a16="http://schemas.microsoft.com/office/drawing/2014/main" id="{B2AE28C8-A7EB-8897-877B-9A25871EA81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081520" y="1798320"/>
            <a:ext cx="4805680" cy="4267200"/>
          </a:xfrm>
          <a:prstGeom prst="roundRect">
            <a:avLst>
              <a:gd name="adj" fmla="val 2825"/>
            </a:avLst>
          </a:prstGeom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ru-RU"/>
              <a:t>Вставка рисунка</a:t>
            </a:r>
            <a:endParaRPr lang="en-US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A21EF30B-C080-6B69-0F87-92BB46A0A12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04800" y="1798321"/>
            <a:ext cx="2844800" cy="1336040"/>
          </a:xfrm>
          <a:prstGeom prst="roundRect">
            <a:avLst>
              <a:gd name="adj" fmla="val 8302"/>
            </a:avLst>
          </a:prstGeom>
          <a:solidFill>
            <a:srgbClr val="264600"/>
          </a:solidFill>
        </p:spPr>
        <p:txBody>
          <a:bodyPr lIns="91440" tIns="91440" rIns="91440" bIns="91440"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important data her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04A253F9-3BB6-86E5-5BE6-17F7C5B8936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4800" y="3258821"/>
            <a:ext cx="2844800" cy="1336040"/>
          </a:xfrm>
          <a:prstGeom prst="roundRect">
            <a:avLst>
              <a:gd name="adj" fmla="val 8302"/>
            </a:avLst>
          </a:prstGeom>
          <a:solidFill>
            <a:srgbClr val="264600"/>
          </a:solidFill>
        </p:spPr>
        <p:txBody>
          <a:bodyPr lIns="91440" tIns="91440" rIns="91440" bIns="91440"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important data her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8A193CB7-D1F0-2866-6F7C-7DCC74ACFB5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04800" y="4719321"/>
            <a:ext cx="2844800" cy="1336040"/>
          </a:xfrm>
          <a:prstGeom prst="roundRect">
            <a:avLst>
              <a:gd name="adj" fmla="val 8302"/>
            </a:avLst>
          </a:prstGeom>
          <a:solidFill>
            <a:srgbClr val="264600"/>
          </a:solidFill>
        </p:spPr>
        <p:txBody>
          <a:bodyPr lIns="91440" tIns="91440" rIns="91440" bIns="91440"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important data he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50D49BA5-ADD5-3BE4-409A-83FCFDD4BA2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49814" y="1798321"/>
            <a:ext cx="3731491" cy="1336040"/>
          </a:xfrm>
          <a:prstGeom prst="roundRect">
            <a:avLst>
              <a:gd name="adj" fmla="val 8302"/>
            </a:avLst>
          </a:prstGeom>
          <a:solidFill>
            <a:schemeClr val="bg1">
              <a:lumMod val="95000"/>
            </a:schemeClr>
          </a:solidFill>
        </p:spPr>
        <p:txBody>
          <a:bodyPr lIns="91440" tIns="91440" rIns="91440" bIns="91440"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description her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4AA7A7E-5D71-9C6E-D4D8-DC81456B7F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251199" y="3258821"/>
            <a:ext cx="3731491" cy="1336040"/>
          </a:xfrm>
          <a:prstGeom prst="roundRect">
            <a:avLst>
              <a:gd name="adj" fmla="val 8302"/>
            </a:avLst>
          </a:prstGeom>
          <a:solidFill>
            <a:schemeClr val="bg1">
              <a:lumMod val="95000"/>
            </a:schemeClr>
          </a:solidFill>
        </p:spPr>
        <p:txBody>
          <a:bodyPr lIns="91440" tIns="91440" rIns="91440" bIns="91440"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description her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84B9CBDC-55BF-5D66-C1D6-25D915CCE44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51199" y="4719321"/>
            <a:ext cx="3731491" cy="1336040"/>
          </a:xfrm>
          <a:prstGeom prst="roundRect">
            <a:avLst>
              <a:gd name="adj" fmla="val 8302"/>
            </a:avLst>
          </a:prstGeom>
          <a:solidFill>
            <a:schemeClr val="bg1">
              <a:lumMod val="95000"/>
            </a:schemeClr>
          </a:solidFill>
        </p:spPr>
        <p:txBody>
          <a:bodyPr lIns="91440" tIns="91440" rIns="91440" bIns="91440"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description here</a:t>
            </a:r>
          </a:p>
        </p:txBody>
      </p:sp>
    </p:spTree>
    <p:extLst>
      <p:ext uri="{BB962C8B-B14F-4D97-AF65-F5344CB8AC3E}">
        <p14:creationId xmlns:p14="http://schemas.microsoft.com/office/powerpoint/2010/main" val="21777836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ontent with multiple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538390-44A4-453D-972A-27D940A685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228601"/>
            <a:ext cx="5010912" cy="777240"/>
          </a:xfrm>
        </p:spPr>
        <p:txBody>
          <a:bodyPr lIns="0" tIns="0" rIns="0" bIns="0"/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EF6409-318C-437F-82C8-F0D7E1BD65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128016" rIns="0" bIns="0"/>
          <a:lstStyle/>
          <a:p>
            <a:pPr algn="r"/>
            <a:r>
              <a:rPr lang="en-GB" dirty="0"/>
              <a:t>Classification: INTERNAL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D2DB9EE-AC50-4E3C-AF58-A0032DF3B8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7695D00A-BA34-4D39-8C84-2534822D643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9E4E1FB-0AC6-4EF6-85D7-E7C69687BA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2619259"/>
            <a:ext cx="2286000" cy="3629140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72599A3-164A-44BE-AEF5-BDF02C58C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29712" y="2619259"/>
            <a:ext cx="2286000" cy="3629140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884E069B-4F75-1FBE-EBF5-0914BB88F03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16461" y="3998975"/>
            <a:ext cx="1819656" cy="2249424"/>
          </a:xfrm>
          <a:prstGeom prst="roundRect">
            <a:avLst>
              <a:gd name="adj" fmla="val 5082"/>
            </a:avLst>
          </a:prstGeom>
          <a:solidFill>
            <a:schemeClr val="accent5"/>
          </a:solidFill>
        </p:spPr>
        <p:txBody>
          <a:bodyPr lIns="137160" tIns="137160" rIns="137160" bIns="137160"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58%</a:t>
            </a:r>
            <a:endParaRPr lang="en-GB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4137E11D-146A-8F38-0A79-C939E831C8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067544" y="228601"/>
            <a:ext cx="1819656" cy="2002536"/>
          </a:xfrm>
          <a:prstGeom prst="roundRect">
            <a:avLst>
              <a:gd name="adj" fmla="val 4936"/>
            </a:avLst>
          </a:prstGeom>
          <a:solidFill>
            <a:schemeClr val="accent4"/>
          </a:solidFill>
        </p:spPr>
        <p:txBody>
          <a:bodyPr lIns="137160" tIns="137160" rIns="137160" bIns="137160"/>
          <a:lstStyle>
            <a:lvl1pPr>
              <a:defRPr sz="3600" b="1">
                <a:solidFill>
                  <a:schemeClr val="bg1"/>
                </a:solidFill>
              </a:defRPr>
            </a:lvl1pPr>
            <a:lvl2pPr>
              <a:defRPr sz="3600" b="1">
                <a:solidFill>
                  <a:srgbClr val="334C56"/>
                </a:solidFill>
              </a:defRPr>
            </a:lvl2pPr>
            <a:lvl3pPr>
              <a:defRPr sz="3600" b="1">
                <a:solidFill>
                  <a:srgbClr val="334C56"/>
                </a:solidFill>
              </a:defRPr>
            </a:lvl3pPr>
            <a:lvl4pPr>
              <a:defRPr sz="3600" b="1">
                <a:solidFill>
                  <a:srgbClr val="334C56"/>
                </a:solidFill>
              </a:defRPr>
            </a:lvl4pPr>
            <a:lvl5pPr>
              <a:defRPr sz="3600" b="1">
                <a:solidFill>
                  <a:srgbClr val="334C56"/>
                </a:solidFill>
              </a:defRPr>
            </a:lvl5pPr>
          </a:lstStyle>
          <a:p>
            <a:pPr lvl="0"/>
            <a:r>
              <a:rPr lang="en-US" dirty="0"/>
              <a:t>69%</a:t>
            </a:r>
            <a:endParaRPr lang="en-GB" dirty="0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75F44FD6-FD35-A038-D4E9-A3FEA287D4B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316457" y="819027"/>
            <a:ext cx="1819657" cy="3082413"/>
          </a:xfrm>
          <a:prstGeom prst="roundRect">
            <a:avLst>
              <a:gd name="adj" fmla="val 4663"/>
            </a:avLst>
          </a:prstGeom>
          <a:pattFill prst="ltVert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D3153D32-72E6-5A2F-A4EC-2A8499F0CA40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233661" y="3165986"/>
            <a:ext cx="1736345" cy="3082413"/>
          </a:xfrm>
          <a:prstGeom prst="roundRect">
            <a:avLst>
              <a:gd name="adj" fmla="val 5110"/>
            </a:avLst>
          </a:prstGeom>
          <a:pattFill prst="ltVert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6038A1FC-E477-C353-5D8D-16890ACD713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33661" y="228600"/>
            <a:ext cx="1736344" cy="2820204"/>
          </a:xfrm>
          <a:prstGeom prst="roundRect">
            <a:avLst>
              <a:gd name="adj" fmla="val 5403"/>
            </a:avLst>
          </a:prstGeom>
          <a:pattFill prst="ltVert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A11AA1B2-466B-FABD-9A3B-3A6679037C5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10067544" y="2328672"/>
            <a:ext cx="1819656" cy="2882426"/>
          </a:xfrm>
          <a:prstGeom prst="roundRect">
            <a:avLst>
              <a:gd name="adj" fmla="val 5919"/>
            </a:avLst>
          </a:prstGeom>
          <a:pattFill prst="ltVert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r>
              <a:rPr lang="ru-RU"/>
              <a:t>Вставка рисун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37785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346200" y="1651003"/>
            <a:ext cx="6381797" cy="176679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1327525" y="3647604"/>
            <a:ext cx="6400472" cy="176679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3572C-12F5-47C0-A119-BE3602A6676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8051740" y="1650999"/>
            <a:ext cx="3072000" cy="376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/>
              <a:t>Classification: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28720071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Highlights with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E581A69-6DDB-E788-5B99-E137982FB080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5EE609B-B68A-96A1-A970-894C5E2495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D3DDE3E-6A4A-3A8B-A335-880F729C4BC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GB"/>
              <a:t>Classification: INTERNAL USE ONLY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D56B7E-34FC-A1AA-3C20-07889B43FD5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695D00A-BA34-4D39-8C84-2534822D643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A9E89F79-A210-DAB9-8E91-07364582144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4800" y="2236609"/>
            <a:ext cx="2816352" cy="4011789"/>
          </a:xfrm>
          <a:prstGeom prst="roundRect">
            <a:avLst>
              <a:gd name="adj" fmla="val 4308"/>
            </a:avLst>
          </a:prstGeom>
          <a:solidFill>
            <a:schemeClr val="tx2"/>
          </a:solidFill>
          <a:ln>
            <a:noFill/>
          </a:ln>
          <a:effectLst/>
        </p:spPr>
        <p:txBody>
          <a:bodyPr lIns="182880" tIns="109728" rIns="182880" bIns="0" anchor="t"/>
          <a:lstStyle>
            <a:lvl1pPr>
              <a:defRPr sz="2200" b="1">
                <a:solidFill>
                  <a:schemeClr val="tx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766ECC2A-3193-34E6-0873-2E5AD9DBF5D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48832" y="2236609"/>
            <a:ext cx="2816352" cy="4011789"/>
          </a:xfrm>
          <a:prstGeom prst="roundRect">
            <a:avLst>
              <a:gd name="adj" fmla="val 4308"/>
            </a:avLst>
          </a:prstGeom>
          <a:solidFill>
            <a:srgbClr val="264600"/>
          </a:solidFill>
          <a:ln>
            <a:noFill/>
          </a:ln>
          <a:effectLst/>
        </p:spPr>
        <p:txBody>
          <a:bodyPr lIns="182880" tIns="109728" rIns="182880" bIns="0" anchor="t"/>
          <a:lstStyle>
            <a:lvl1pPr>
              <a:defRPr sz="2200" b="1">
                <a:solidFill>
                  <a:schemeClr val="bg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dirty="0"/>
              <a:t>Header</a:t>
            </a:r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264A1F55-AC6D-B275-E633-D7A3CF018200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226816" y="2236609"/>
            <a:ext cx="2816352" cy="4011791"/>
          </a:xfrm>
          <a:prstGeom prst="roundRect">
            <a:avLst>
              <a:gd name="adj" fmla="val 4311"/>
            </a:avLst>
          </a:prstGeom>
          <a:pattFill prst="ltVert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ctr">
            <a:noAutofit/>
          </a:bodyPr>
          <a:lstStyle>
            <a:lvl1pPr algn="ctr">
              <a:defRPr lang="en-US"/>
            </a:lvl1pPr>
          </a:lstStyle>
          <a:p>
            <a:pPr lvl="0"/>
            <a:r>
              <a:rPr lang="ru-RU"/>
              <a:t>Вставка рисунка</a:t>
            </a:r>
            <a:endParaRPr lang="en-US"/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070CB35C-6703-3452-F1B3-34E75C5A8640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070848" y="2236609"/>
            <a:ext cx="2816352" cy="4011791"/>
          </a:xfrm>
          <a:prstGeom prst="roundRect">
            <a:avLst>
              <a:gd name="adj" fmla="val 4311"/>
            </a:avLst>
          </a:prstGeom>
          <a:pattFill prst="ltVert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ctr">
            <a:noAutofit/>
          </a:bodyPr>
          <a:lstStyle>
            <a:lvl1pPr algn="ctr">
              <a:defRPr lang="en-US"/>
            </a:lvl1pPr>
          </a:lstStyle>
          <a:p>
            <a:pPr lvl="0"/>
            <a:r>
              <a:rPr lang="ru-RU"/>
              <a:t>Вставка рисун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125412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8_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D36CB9F7-0EAD-835F-19A1-5D90227AE0A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942523" y="228601"/>
            <a:ext cx="3477308" cy="6261651"/>
          </a:xfrm>
          <a:custGeom>
            <a:avLst/>
            <a:gdLst>
              <a:gd name="connsiteX0" fmla="*/ 0 w 3477308"/>
              <a:gd name="connsiteY0" fmla="*/ 0 h 6261651"/>
              <a:gd name="connsiteX1" fmla="*/ 3472779 w 3477308"/>
              <a:gd name="connsiteY1" fmla="*/ 0 h 6261651"/>
              <a:gd name="connsiteX2" fmla="*/ 3472779 w 3477308"/>
              <a:gd name="connsiteY2" fmla="*/ 3478695 h 6261651"/>
              <a:gd name="connsiteX3" fmla="*/ 2087217 w 3477308"/>
              <a:gd name="connsiteY3" fmla="*/ 3478695 h 6261651"/>
              <a:gd name="connsiteX4" fmla="*/ 3477308 w 3477308"/>
              <a:gd name="connsiteY4" fmla="*/ 5513394 h 6261651"/>
              <a:gd name="connsiteX5" fmla="*/ 3130826 w 3477308"/>
              <a:gd name="connsiteY5" fmla="*/ 6261651 h 6261651"/>
              <a:gd name="connsiteX6" fmla="*/ 0 w 3477308"/>
              <a:gd name="connsiteY6" fmla="*/ 2571094 h 6261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77308" h="6261651">
                <a:moveTo>
                  <a:pt x="0" y="0"/>
                </a:moveTo>
                <a:lnTo>
                  <a:pt x="3472779" y="0"/>
                </a:lnTo>
                <a:lnTo>
                  <a:pt x="3472779" y="3478695"/>
                </a:lnTo>
                <a:lnTo>
                  <a:pt x="2087217" y="3478695"/>
                </a:lnTo>
                <a:cubicBezTo>
                  <a:pt x="2087217" y="4247843"/>
                  <a:pt x="2630953" y="5194377"/>
                  <a:pt x="3477308" y="5513394"/>
                </a:cubicBezTo>
                <a:lnTo>
                  <a:pt x="3130826" y="6261651"/>
                </a:lnTo>
                <a:cubicBezTo>
                  <a:pt x="1303826" y="5900561"/>
                  <a:pt x="0" y="4555356"/>
                  <a:pt x="0" y="2571094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8CF8777-6569-1210-C1A8-CC93BE78B58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ln>
            <a:solidFill>
              <a:schemeClr val="bg1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r>
              <a:rPr lang="en-GB" dirty="0"/>
              <a:t>Classification: INTERNAL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AAAB9A-B7E9-F787-8CE5-AAAEA10E30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695D00A-BA34-4D39-8C84-2534822D6434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D278696-7B99-C03F-EC6C-DFEED5F8FD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55960" y="6399515"/>
            <a:ext cx="1031238" cy="307367"/>
          </a:xfrm>
          <a:prstGeom prst="rect">
            <a:avLst/>
          </a:prstGeom>
        </p:spPr>
      </p:pic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C42CA278-1169-0030-6A06-70F9551FA94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207791" y="563586"/>
            <a:ext cx="2219066" cy="3995916"/>
          </a:xfrm>
          <a:custGeom>
            <a:avLst/>
            <a:gdLst>
              <a:gd name="connsiteX0" fmla="*/ 2886 w 2219066"/>
              <a:gd name="connsiteY0" fmla="*/ 0 h 3995916"/>
              <a:gd name="connsiteX1" fmla="*/ 2219066 w 2219066"/>
              <a:gd name="connsiteY1" fmla="*/ 0 h 3995916"/>
              <a:gd name="connsiteX2" fmla="*/ 2219066 w 2219066"/>
              <a:gd name="connsiteY2" fmla="*/ 1640769 h 3995916"/>
              <a:gd name="connsiteX3" fmla="*/ 221107 w 2219066"/>
              <a:gd name="connsiteY3" fmla="*/ 3995916 h 3995916"/>
              <a:gd name="connsiteX4" fmla="*/ 0 w 2219066"/>
              <a:gd name="connsiteY4" fmla="*/ 3518406 h 3995916"/>
              <a:gd name="connsiteX5" fmla="*/ 887093 w 2219066"/>
              <a:gd name="connsiteY5" fmla="*/ 2219953 h 3995916"/>
              <a:gd name="connsiteX6" fmla="*/ 2886 w 2219066"/>
              <a:gd name="connsiteY6" fmla="*/ 2219953 h 3995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19066" h="3995916">
                <a:moveTo>
                  <a:pt x="2886" y="0"/>
                </a:moveTo>
                <a:lnTo>
                  <a:pt x="2219066" y="0"/>
                </a:lnTo>
                <a:lnTo>
                  <a:pt x="2219066" y="1640769"/>
                </a:lnTo>
                <a:cubicBezTo>
                  <a:pt x="2219066" y="2907029"/>
                  <a:pt x="1387027" y="3765485"/>
                  <a:pt x="221107" y="3995916"/>
                </a:cubicBezTo>
                <a:lnTo>
                  <a:pt x="0" y="3518406"/>
                </a:lnTo>
                <a:cubicBezTo>
                  <a:pt x="540115" y="3314835"/>
                  <a:pt x="887093" y="2710786"/>
                  <a:pt x="887093" y="2219953"/>
                </a:cubicBezTo>
                <a:lnTo>
                  <a:pt x="2886" y="2219953"/>
                </a:lnTo>
                <a:close/>
              </a:path>
            </a:pathLst>
          </a:custGeom>
          <a:pattFill prst="ltVert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ctr">
            <a:noAutofit/>
          </a:bodyPr>
          <a:lstStyle>
            <a:lvl1pPr>
              <a:defRPr lang="en-US"/>
            </a:lvl1pPr>
          </a:lstStyle>
          <a:p>
            <a:pPr lvl="0" algn="ctr"/>
            <a:r>
              <a:rPr lang="ru-RU"/>
              <a:t>Вставка рисунка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4C2E266-1E18-E102-D67C-9D48C26ADF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0960" y="228600"/>
            <a:ext cx="6746240" cy="3468757"/>
          </a:xfrm>
        </p:spPr>
        <p:txBody>
          <a:bodyPr anchor="ctr"/>
          <a:lstStyle>
            <a:lvl1pPr>
              <a:defRPr sz="36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71164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346204" y="1651003"/>
            <a:ext cx="4672999" cy="176679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23740" y="1651003"/>
            <a:ext cx="4800000" cy="176679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3572C-12F5-47C0-A119-BE3602A66766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1346204" y="3647607"/>
            <a:ext cx="4672999" cy="176679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14" hasCustomPrompt="1"/>
          </p:nvPr>
        </p:nvSpPr>
        <p:spPr>
          <a:xfrm>
            <a:off x="6323740" y="3647607"/>
            <a:ext cx="4800000" cy="176679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Classification: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7399825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and 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346200" y="1650999"/>
            <a:ext cx="2104997" cy="376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76712" y="1650999"/>
            <a:ext cx="2232000" cy="376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3572C-12F5-47C0-A119-BE3602A6676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6334227" y="1650999"/>
            <a:ext cx="2232000" cy="376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half" idx="14"/>
          </p:nvPr>
        </p:nvSpPr>
        <p:spPr>
          <a:xfrm>
            <a:off x="8891740" y="1650999"/>
            <a:ext cx="2232000" cy="376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Classification: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41460595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26" Type="http://schemas.openxmlformats.org/officeDocument/2006/relationships/image" Target="../media/image8.png"/><Relationship Id="rId3" Type="http://schemas.openxmlformats.org/officeDocument/2006/relationships/slideLayout" Target="../slideLayouts/slideLayout22.xml"/><Relationship Id="rId21" Type="http://schemas.openxmlformats.org/officeDocument/2006/relationships/slideLayout" Target="../slideLayouts/slideLayout40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5" Type="http://schemas.openxmlformats.org/officeDocument/2006/relationships/image" Target="../media/image7.emf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slideLayout" Target="../slideLayouts/slideLayout39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tags" Target="../tags/tag1.xml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theme" Target="../theme/theme3.xml"/><Relationship Id="rId27" Type="http://schemas.openxmlformats.org/officeDocument/2006/relationships/image" Target="../media/image9.sv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image" Target="../media/image16.png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image" Target="../media/image7.emf"/><Relationship Id="rId2" Type="http://schemas.openxmlformats.org/officeDocument/2006/relationships/slideLayout" Target="../slideLayouts/slideLayout42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slideLayout" Target="../slideLayouts/slideLayout66.xml"/><Relationship Id="rId18" Type="http://schemas.openxmlformats.org/officeDocument/2006/relationships/slideLayout" Target="../slideLayouts/slideLayout71.xml"/><Relationship Id="rId3" Type="http://schemas.openxmlformats.org/officeDocument/2006/relationships/slideLayout" Target="../slideLayouts/slideLayout56.xml"/><Relationship Id="rId21" Type="http://schemas.openxmlformats.org/officeDocument/2006/relationships/image" Target="../media/image9.svg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17" Type="http://schemas.openxmlformats.org/officeDocument/2006/relationships/slideLayout" Target="../slideLayouts/slideLayout70.xml"/><Relationship Id="rId2" Type="http://schemas.openxmlformats.org/officeDocument/2006/relationships/slideLayout" Target="../slideLayouts/slideLayout55.xml"/><Relationship Id="rId16" Type="http://schemas.openxmlformats.org/officeDocument/2006/relationships/slideLayout" Target="../slideLayouts/slideLayout69.xml"/><Relationship Id="rId20" Type="http://schemas.openxmlformats.org/officeDocument/2006/relationships/image" Target="../media/image8.png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5" Type="http://schemas.openxmlformats.org/officeDocument/2006/relationships/slideLayout" Target="../slideLayouts/slideLayout58.xml"/><Relationship Id="rId15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63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10"/>
          <p:cNvSpPr>
            <a:spLocks noChangeArrowheads="1"/>
          </p:cNvSpPr>
          <p:nvPr userDrawn="1"/>
        </p:nvSpPr>
        <p:spPr bwMode="gray">
          <a:xfrm>
            <a:off x="-1" y="5961503"/>
            <a:ext cx="12192001" cy="887599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346200" y="502918"/>
            <a:ext cx="9789584" cy="665799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346050" y="1338575"/>
            <a:ext cx="9777695" cy="376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502708" y="6406876"/>
            <a:ext cx="340784" cy="10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933">
                <a:solidFill>
                  <a:schemeClr val="tx1"/>
                </a:solidFill>
              </a:defRPr>
            </a:lvl1pPr>
          </a:lstStyle>
          <a:p>
            <a:fld id="{3F53572C-12F5-47C0-A119-BE3602A6676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9" name="Line 31"/>
          <p:cNvSpPr>
            <a:spLocks noChangeShapeType="1"/>
          </p:cNvSpPr>
          <p:nvPr userDrawn="1"/>
        </p:nvSpPr>
        <p:spPr bwMode="gray">
          <a:xfrm>
            <a:off x="1087677" y="6394230"/>
            <a:ext cx="0" cy="123825"/>
          </a:xfrm>
          <a:prstGeom prst="line">
            <a:avLst/>
          </a:prstGeom>
          <a:noFill/>
          <a:ln w="6350" cap="rnd">
            <a:solidFill>
              <a:schemeClr val="accent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24" name="Freeform 49"/>
          <p:cNvSpPr>
            <a:spLocks/>
          </p:cNvSpPr>
          <p:nvPr userDrawn="1"/>
        </p:nvSpPr>
        <p:spPr bwMode="gray">
          <a:xfrm>
            <a:off x="10857432" y="5961702"/>
            <a:ext cx="1334568" cy="896297"/>
          </a:xfrm>
          <a:custGeom>
            <a:avLst/>
            <a:gdLst>
              <a:gd name="T0" fmla="*/ 0 w 4568"/>
              <a:gd name="T1" fmla="*/ 0 h 2670"/>
              <a:gd name="T2" fmla="*/ 0 w 4568"/>
              <a:gd name="T3" fmla="*/ 2670 h 2670"/>
              <a:gd name="T4" fmla="*/ 4568 w 4568"/>
              <a:gd name="T5" fmla="*/ 2670 h 2670"/>
              <a:gd name="T6" fmla="*/ 4568 w 4568"/>
              <a:gd name="T7" fmla="*/ 0 h 2670"/>
              <a:gd name="T8" fmla="*/ 0 w 4568"/>
              <a:gd name="T9" fmla="*/ 0 h 2670"/>
              <a:gd name="T10" fmla="*/ 0 w 4568"/>
              <a:gd name="T11" fmla="*/ 0 h 26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568" h="2670">
                <a:moveTo>
                  <a:pt x="0" y="0"/>
                </a:moveTo>
                <a:lnTo>
                  <a:pt x="0" y="2670"/>
                </a:lnTo>
                <a:lnTo>
                  <a:pt x="4568" y="2670"/>
                </a:lnTo>
                <a:lnTo>
                  <a:pt x="4568" y="0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grpSp>
        <p:nvGrpSpPr>
          <p:cNvPr id="26" name="Group 15"/>
          <p:cNvGrpSpPr/>
          <p:nvPr userDrawn="1"/>
        </p:nvGrpSpPr>
        <p:grpSpPr bwMode="gray">
          <a:xfrm>
            <a:off x="11054940" y="6323390"/>
            <a:ext cx="936632" cy="263828"/>
            <a:chOff x="2024063" y="2676525"/>
            <a:chExt cx="5111750" cy="1439863"/>
          </a:xfrm>
        </p:grpSpPr>
        <p:sp>
          <p:nvSpPr>
            <p:cNvPr id="27" name="Line 50"/>
            <p:cNvSpPr>
              <a:spLocks noChangeShapeType="1"/>
            </p:cNvSpPr>
            <p:nvPr/>
          </p:nvSpPr>
          <p:spPr bwMode="gray">
            <a:xfrm>
              <a:off x="2203450" y="3767138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8" name="Line 51"/>
            <p:cNvSpPr>
              <a:spLocks noChangeShapeType="1"/>
            </p:cNvSpPr>
            <p:nvPr/>
          </p:nvSpPr>
          <p:spPr bwMode="gray">
            <a:xfrm>
              <a:off x="2203450" y="3767138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9" name="Freeform 52"/>
            <p:cNvSpPr>
              <a:spLocks/>
            </p:cNvSpPr>
            <p:nvPr/>
          </p:nvSpPr>
          <p:spPr bwMode="gray">
            <a:xfrm>
              <a:off x="5810250" y="3003550"/>
              <a:ext cx="442913" cy="793750"/>
            </a:xfrm>
            <a:custGeom>
              <a:avLst/>
              <a:gdLst>
                <a:gd name="T0" fmla="*/ 118 w 118"/>
                <a:gd name="T1" fmla="*/ 80 h 211"/>
                <a:gd name="T2" fmla="*/ 74 w 118"/>
                <a:gd name="T3" fmla="*/ 80 h 211"/>
                <a:gd name="T4" fmla="*/ 74 w 118"/>
                <a:gd name="T5" fmla="*/ 152 h 211"/>
                <a:gd name="T6" fmla="*/ 99 w 118"/>
                <a:gd name="T7" fmla="*/ 176 h 211"/>
                <a:gd name="T8" fmla="*/ 114 w 118"/>
                <a:gd name="T9" fmla="*/ 175 h 211"/>
                <a:gd name="T10" fmla="*/ 118 w 118"/>
                <a:gd name="T11" fmla="*/ 207 h 211"/>
                <a:gd name="T12" fmla="*/ 81 w 118"/>
                <a:gd name="T13" fmla="*/ 211 h 211"/>
                <a:gd name="T14" fmla="*/ 25 w 118"/>
                <a:gd name="T15" fmla="*/ 164 h 211"/>
                <a:gd name="T16" fmla="*/ 25 w 118"/>
                <a:gd name="T17" fmla="*/ 80 h 211"/>
                <a:gd name="T18" fmla="*/ 0 w 118"/>
                <a:gd name="T19" fmla="*/ 80 h 211"/>
                <a:gd name="T20" fmla="*/ 0 w 118"/>
                <a:gd name="T21" fmla="*/ 49 h 211"/>
                <a:gd name="T22" fmla="*/ 25 w 118"/>
                <a:gd name="T23" fmla="*/ 49 h 211"/>
                <a:gd name="T24" fmla="*/ 25 w 118"/>
                <a:gd name="T25" fmla="*/ 14 h 211"/>
                <a:gd name="T26" fmla="*/ 74 w 118"/>
                <a:gd name="T27" fmla="*/ 0 h 211"/>
                <a:gd name="T28" fmla="*/ 74 w 118"/>
                <a:gd name="T29" fmla="*/ 49 h 211"/>
                <a:gd name="T30" fmla="*/ 118 w 118"/>
                <a:gd name="T31" fmla="*/ 49 h 211"/>
                <a:gd name="T32" fmla="*/ 118 w 118"/>
                <a:gd name="T33" fmla="*/ 8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8" h="211">
                  <a:moveTo>
                    <a:pt x="118" y="80"/>
                  </a:moveTo>
                  <a:cubicBezTo>
                    <a:pt x="74" y="80"/>
                    <a:pt x="74" y="80"/>
                    <a:pt x="74" y="80"/>
                  </a:cubicBezTo>
                  <a:cubicBezTo>
                    <a:pt x="74" y="152"/>
                    <a:pt x="74" y="152"/>
                    <a:pt x="74" y="152"/>
                  </a:cubicBezTo>
                  <a:cubicBezTo>
                    <a:pt x="74" y="173"/>
                    <a:pt x="85" y="176"/>
                    <a:pt x="99" y="176"/>
                  </a:cubicBezTo>
                  <a:cubicBezTo>
                    <a:pt x="104" y="176"/>
                    <a:pt x="109" y="176"/>
                    <a:pt x="114" y="175"/>
                  </a:cubicBezTo>
                  <a:cubicBezTo>
                    <a:pt x="118" y="207"/>
                    <a:pt x="118" y="207"/>
                    <a:pt x="118" y="207"/>
                  </a:cubicBezTo>
                  <a:cubicBezTo>
                    <a:pt x="106" y="209"/>
                    <a:pt x="91" y="211"/>
                    <a:pt x="81" y="211"/>
                  </a:cubicBezTo>
                  <a:cubicBezTo>
                    <a:pt x="51" y="211"/>
                    <a:pt x="25" y="201"/>
                    <a:pt x="25" y="164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4" y="49"/>
                    <a:pt x="74" y="49"/>
                    <a:pt x="74" y="49"/>
                  </a:cubicBezTo>
                  <a:cubicBezTo>
                    <a:pt x="118" y="49"/>
                    <a:pt x="118" y="49"/>
                    <a:pt x="118" y="49"/>
                  </a:cubicBezTo>
                  <a:lnTo>
                    <a:pt x="118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0" name="Freeform 53"/>
            <p:cNvSpPr>
              <a:spLocks/>
            </p:cNvSpPr>
            <p:nvPr/>
          </p:nvSpPr>
          <p:spPr bwMode="gray">
            <a:xfrm>
              <a:off x="5178425" y="3173413"/>
              <a:ext cx="574675" cy="612775"/>
            </a:xfrm>
            <a:custGeom>
              <a:avLst/>
              <a:gdLst>
                <a:gd name="T0" fmla="*/ 153 w 153"/>
                <a:gd name="T1" fmla="*/ 163 h 163"/>
                <a:gd name="T2" fmla="*/ 103 w 153"/>
                <a:gd name="T3" fmla="*/ 163 h 163"/>
                <a:gd name="T4" fmla="*/ 103 w 153"/>
                <a:gd name="T5" fmla="*/ 61 h 163"/>
                <a:gd name="T6" fmla="*/ 80 w 153"/>
                <a:gd name="T7" fmla="*/ 37 h 163"/>
                <a:gd name="T8" fmla="*/ 50 w 153"/>
                <a:gd name="T9" fmla="*/ 51 h 163"/>
                <a:gd name="T10" fmla="*/ 50 w 153"/>
                <a:gd name="T11" fmla="*/ 163 h 163"/>
                <a:gd name="T12" fmla="*/ 0 w 153"/>
                <a:gd name="T13" fmla="*/ 163 h 163"/>
                <a:gd name="T14" fmla="*/ 0 w 153"/>
                <a:gd name="T15" fmla="*/ 4 h 163"/>
                <a:gd name="T16" fmla="*/ 48 w 153"/>
                <a:gd name="T17" fmla="*/ 4 h 163"/>
                <a:gd name="T18" fmla="*/ 48 w 153"/>
                <a:gd name="T19" fmla="*/ 18 h 163"/>
                <a:gd name="T20" fmla="*/ 103 w 153"/>
                <a:gd name="T21" fmla="*/ 0 h 163"/>
                <a:gd name="T22" fmla="*/ 153 w 153"/>
                <a:gd name="T23" fmla="*/ 49 h 163"/>
                <a:gd name="T24" fmla="*/ 153 w 153"/>
                <a:gd name="T2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3" h="163">
                  <a:moveTo>
                    <a:pt x="153" y="163"/>
                  </a:moveTo>
                  <a:cubicBezTo>
                    <a:pt x="103" y="163"/>
                    <a:pt x="103" y="163"/>
                    <a:pt x="103" y="163"/>
                  </a:cubicBezTo>
                  <a:cubicBezTo>
                    <a:pt x="103" y="61"/>
                    <a:pt x="103" y="61"/>
                    <a:pt x="103" y="61"/>
                  </a:cubicBezTo>
                  <a:cubicBezTo>
                    <a:pt x="103" y="46"/>
                    <a:pt x="97" y="37"/>
                    <a:pt x="80" y="37"/>
                  </a:cubicBezTo>
                  <a:cubicBezTo>
                    <a:pt x="67" y="37"/>
                    <a:pt x="59" y="43"/>
                    <a:pt x="50" y="51"/>
                  </a:cubicBezTo>
                  <a:cubicBezTo>
                    <a:pt x="50" y="163"/>
                    <a:pt x="50" y="163"/>
                    <a:pt x="50" y="163"/>
                  </a:cubicBezTo>
                  <a:cubicBezTo>
                    <a:pt x="0" y="163"/>
                    <a:pt x="0" y="163"/>
                    <a:pt x="0" y="16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64" y="7"/>
                    <a:pt x="83" y="0"/>
                    <a:pt x="103" y="0"/>
                  </a:cubicBezTo>
                  <a:cubicBezTo>
                    <a:pt x="134" y="0"/>
                    <a:pt x="153" y="20"/>
                    <a:pt x="153" y="49"/>
                  </a:cubicBezTo>
                  <a:lnTo>
                    <a:pt x="153" y="1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1" name="Freeform 54"/>
            <p:cNvSpPr>
              <a:spLocks/>
            </p:cNvSpPr>
            <p:nvPr/>
          </p:nvSpPr>
          <p:spPr bwMode="gray">
            <a:xfrm>
              <a:off x="4314825" y="2676525"/>
              <a:ext cx="487363" cy="488950"/>
            </a:xfrm>
            <a:custGeom>
              <a:avLst/>
              <a:gdLst>
                <a:gd name="T0" fmla="*/ 130 w 130"/>
                <a:gd name="T1" fmla="*/ 0 h 130"/>
                <a:gd name="T2" fmla="*/ 92 w 130"/>
                <a:gd name="T3" fmla="*/ 106 h 130"/>
                <a:gd name="T4" fmla="*/ 33 w 130"/>
                <a:gd name="T5" fmla="*/ 125 h 130"/>
                <a:gd name="T6" fmla="*/ 5 w 130"/>
                <a:gd name="T7" fmla="*/ 130 h 130"/>
                <a:gd name="T8" fmla="*/ 0 w 130"/>
                <a:gd name="T9" fmla="*/ 94 h 130"/>
                <a:gd name="T10" fmla="*/ 19 w 130"/>
                <a:gd name="T11" fmla="*/ 42 h 130"/>
                <a:gd name="T12" fmla="*/ 130 w 130"/>
                <a:gd name="T13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130">
                  <a:moveTo>
                    <a:pt x="130" y="0"/>
                  </a:moveTo>
                  <a:cubicBezTo>
                    <a:pt x="105" y="43"/>
                    <a:pt x="116" y="81"/>
                    <a:pt x="92" y="106"/>
                  </a:cubicBezTo>
                  <a:cubicBezTo>
                    <a:pt x="72" y="125"/>
                    <a:pt x="54" y="125"/>
                    <a:pt x="33" y="125"/>
                  </a:cubicBezTo>
                  <a:cubicBezTo>
                    <a:pt x="25" y="125"/>
                    <a:pt x="11" y="125"/>
                    <a:pt x="5" y="130"/>
                  </a:cubicBezTo>
                  <a:cubicBezTo>
                    <a:pt x="1" y="118"/>
                    <a:pt x="0" y="106"/>
                    <a:pt x="0" y="94"/>
                  </a:cubicBezTo>
                  <a:cubicBezTo>
                    <a:pt x="0" y="74"/>
                    <a:pt x="4" y="56"/>
                    <a:pt x="19" y="42"/>
                  </a:cubicBezTo>
                  <a:cubicBezTo>
                    <a:pt x="46" y="14"/>
                    <a:pt x="97" y="5"/>
                    <a:pt x="13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2" name="Freeform 55"/>
            <p:cNvSpPr>
              <a:spLocks/>
            </p:cNvSpPr>
            <p:nvPr/>
          </p:nvSpPr>
          <p:spPr bwMode="gray">
            <a:xfrm>
              <a:off x="3228975" y="3173413"/>
              <a:ext cx="571500" cy="612775"/>
            </a:xfrm>
            <a:custGeom>
              <a:avLst/>
              <a:gdLst>
                <a:gd name="T0" fmla="*/ 152 w 152"/>
                <a:gd name="T1" fmla="*/ 163 h 163"/>
                <a:gd name="T2" fmla="*/ 103 w 152"/>
                <a:gd name="T3" fmla="*/ 163 h 163"/>
                <a:gd name="T4" fmla="*/ 103 w 152"/>
                <a:gd name="T5" fmla="*/ 61 h 163"/>
                <a:gd name="T6" fmla="*/ 79 w 152"/>
                <a:gd name="T7" fmla="*/ 37 h 163"/>
                <a:gd name="T8" fmla="*/ 49 w 152"/>
                <a:gd name="T9" fmla="*/ 51 h 163"/>
                <a:gd name="T10" fmla="*/ 49 w 152"/>
                <a:gd name="T11" fmla="*/ 163 h 163"/>
                <a:gd name="T12" fmla="*/ 0 w 152"/>
                <a:gd name="T13" fmla="*/ 163 h 163"/>
                <a:gd name="T14" fmla="*/ 0 w 152"/>
                <a:gd name="T15" fmla="*/ 4 h 163"/>
                <a:gd name="T16" fmla="*/ 48 w 152"/>
                <a:gd name="T17" fmla="*/ 4 h 163"/>
                <a:gd name="T18" fmla="*/ 48 w 152"/>
                <a:gd name="T19" fmla="*/ 18 h 163"/>
                <a:gd name="T20" fmla="*/ 102 w 152"/>
                <a:gd name="T21" fmla="*/ 0 h 163"/>
                <a:gd name="T22" fmla="*/ 152 w 152"/>
                <a:gd name="T23" fmla="*/ 49 h 163"/>
                <a:gd name="T24" fmla="*/ 152 w 152"/>
                <a:gd name="T2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2" h="163">
                  <a:moveTo>
                    <a:pt x="152" y="163"/>
                  </a:moveTo>
                  <a:cubicBezTo>
                    <a:pt x="103" y="163"/>
                    <a:pt x="103" y="163"/>
                    <a:pt x="103" y="163"/>
                  </a:cubicBezTo>
                  <a:cubicBezTo>
                    <a:pt x="103" y="61"/>
                    <a:pt x="103" y="61"/>
                    <a:pt x="103" y="61"/>
                  </a:cubicBezTo>
                  <a:cubicBezTo>
                    <a:pt x="103" y="46"/>
                    <a:pt x="96" y="37"/>
                    <a:pt x="79" y="37"/>
                  </a:cubicBezTo>
                  <a:cubicBezTo>
                    <a:pt x="67" y="37"/>
                    <a:pt x="58" y="43"/>
                    <a:pt x="49" y="51"/>
                  </a:cubicBezTo>
                  <a:cubicBezTo>
                    <a:pt x="49" y="163"/>
                    <a:pt x="49" y="163"/>
                    <a:pt x="49" y="163"/>
                  </a:cubicBezTo>
                  <a:cubicBezTo>
                    <a:pt x="0" y="163"/>
                    <a:pt x="0" y="163"/>
                    <a:pt x="0" y="16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64" y="7"/>
                    <a:pt x="82" y="0"/>
                    <a:pt x="102" y="0"/>
                  </a:cubicBezTo>
                  <a:cubicBezTo>
                    <a:pt x="134" y="0"/>
                    <a:pt x="152" y="20"/>
                    <a:pt x="152" y="49"/>
                  </a:cubicBezTo>
                  <a:lnTo>
                    <a:pt x="152" y="1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3" name="Freeform 56"/>
            <p:cNvSpPr>
              <a:spLocks/>
            </p:cNvSpPr>
            <p:nvPr/>
          </p:nvSpPr>
          <p:spPr bwMode="gray">
            <a:xfrm>
              <a:off x="2492375" y="3187700"/>
              <a:ext cx="698500" cy="917575"/>
            </a:xfrm>
            <a:custGeom>
              <a:avLst/>
              <a:gdLst>
                <a:gd name="T0" fmla="*/ 186 w 186"/>
                <a:gd name="T1" fmla="*/ 0 h 244"/>
                <a:gd name="T2" fmla="*/ 106 w 186"/>
                <a:gd name="T3" fmla="*/ 192 h 244"/>
                <a:gd name="T4" fmla="*/ 36 w 186"/>
                <a:gd name="T5" fmla="*/ 244 h 244"/>
                <a:gd name="T6" fmla="*/ 0 w 186"/>
                <a:gd name="T7" fmla="*/ 239 h 244"/>
                <a:gd name="T8" fmla="*/ 7 w 186"/>
                <a:gd name="T9" fmla="*/ 207 h 244"/>
                <a:gd name="T10" fmla="*/ 28 w 186"/>
                <a:gd name="T11" fmla="*/ 210 h 244"/>
                <a:gd name="T12" fmla="*/ 68 w 186"/>
                <a:gd name="T13" fmla="*/ 170 h 244"/>
                <a:gd name="T14" fmla="*/ 73 w 186"/>
                <a:gd name="T15" fmla="*/ 159 h 244"/>
                <a:gd name="T16" fmla="*/ 12 w 186"/>
                <a:gd name="T17" fmla="*/ 0 h 244"/>
                <a:gd name="T18" fmla="*/ 65 w 186"/>
                <a:gd name="T19" fmla="*/ 0 h 244"/>
                <a:gd name="T20" fmla="*/ 94 w 186"/>
                <a:gd name="T21" fmla="*/ 78 h 244"/>
                <a:gd name="T22" fmla="*/ 101 w 186"/>
                <a:gd name="T23" fmla="*/ 105 h 244"/>
                <a:gd name="T24" fmla="*/ 110 w 186"/>
                <a:gd name="T25" fmla="*/ 77 h 244"/>
                <a:gd name="T26" fmla="*/ 139 w 186"/>
                <a:gd name="T27" fmla="*/ 0 h 244"/>
                <a:gd name="T28" fmla="*/ 186 w 186"/>
                <a:gd name="T29" fmla="*/ 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6" h="244">
                  <a:moveTo>
                    <a:pt x="186" y="0"/>
                  </a:moveTo>
                  <a:cubicBezTo>
                    <a:pt x="106" y="192"/>
                    <a:pt x="106" y="192"/>
                    <a:pt x="106" y="192"/>
                  </a:cubicBezTo>
                  <a:cubicBezTo>
                    <a:pt x="94" y="222"/>
                    <a:pt x="70" y="244"/>
                    <a:pt x="36" y="244"/>
                  </a:cubicBezTo>
                  <a:cubicBezTo>
                    <a:pt x="20" y="244"/>
                    <a:pt x="11" y="241"/>
                    <a:pt x="0" y="239"/>
                  </a:cubicBezTo>
                  <a:cubicBezTo>
                    <a:pt x="7" y="207"/>
                    <a:pt x="7" y="207"/>
                    <a:pt x="7" y="207"/>
                  </a:cubicBezTo>
                  <a:cubicBezTo>
                    <a:pt x="16" y="209"/>
                    <a:pt x="22" y="210"/>
                    <a:pt x="28" y="210"/>
                  </a:cubicBezTo>
                  <a:cubicBezTo>
                    <a:pt x="48" y="210"/>
                    <a:pt x="59" y="193"/>
                    <a:pt x="68" y="170"/>
                  </a:cubicBezTo>
                  <a:cubicBezTo>
                    <a:pt x="73" y="159"/>
                    <a:pt x="73" y="159"/>
                    <a:pt x="73" y="159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94" y="78"/>
                    <a:pt x="94" y="78"/>
                    <a:pt x="94" y="78"/>
                  </a:cubicBezTo>
                  <a:cubicBezTo>
                    <a:pt x="97" y="88"/>
                    <a:pt x="99" y="98"/>
                    <a:pt x="101" y="105"/>
                  </a:cubicBezTo>
                  <a:cubicBezTo>
                    <a:pt x="102" y="98"/>
                    <a:pt x="106" y="86"/>
                    <a:pt x="110" y="77"/>
                  </a:cubicBezTo>
                  <a:cubicBezTo>
                    <a:pt x="139" y="0"/>
                    <a:pt x="139" y="0"/>
                    <a:pt x="139" y="0"/>
                  </a:cubicBezTo>
                  <a:lnTo>
                    <a:pt x="18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4" name="Freeform 57"/>
            <p:cNvSpPr>
              <a:spLocks/>
            </p:cNvSpPr>
            <p:nvPr/>
          </p:nvSpPr>
          <p:spPr bwMode="gray">
            <a:xfrm>
              <a:off x="2024063" y="3162300"/>
              <a:ext cx="509588" cy="631825"/>
            </a:xfrm>
            <a:custGeom>
              <a:avLst/>
              <a:gdLst>
                <a:gd name="T0" fmla="*/ 136 w 136"/>
                <a:gd name="T1" fmla="*/ 115 h 168"/>
                <a:gd name="T2" fmla="*/ 66 w 136"/>
                <a:gd name="T3" fmla="*/ 168 h 168"/>
                <a:gd name="T4" fmla="*/ 0 w 136"/>
                <a:gd name="T5" fmla="*/ 156 h 168"/>
                <a:gd name="T6" fmla="*/ 14 w 136"/>
                <a:gd name="T7" fmla="*/ 124 h 168"/>
                <a:gd name="T8" fmla="*/ 59 w 136"/>
                <a:gd name="T9" fmla="*/ 134 h 168"/>
                <a:gd name="T10" fmla="*/ 86 w 136"/>
                <a:gd name="T11" fmla="*/ 119 h 168"/>
                <a:gd name="T12" fmla="*/ 75 w 136"/>
                <a:gd name="T13" fmla="*/ 107 h 168"/>
                <a:gd name="T14" fmla="*/ 41 w 136"/>
                <a:gd name="T15" fmla="*/ 99 h 168"/>
                <a:gd name="T16" fmla="*/ 4 w 136"/>
                <a:gd name="T17" fmla="*/ 53 h 168"/>
                <a:gd name="T18" fmla="*/ 71 w 136"/>
                <a:gd name="T19" fmla="*/ 0 h 168"/>
                <a:gd name="T20" fmla="*/ 126 w 136"/>
                <a:gd name="T21" fmla="*/ 8 h 168"/>
                <a:gd name="T22" fmla="*/ 114 w 136"/>
                <a:gd name="T23" fmla="*/ 40 h 168"/>
                <a:gd name="T24" fmla="*/ 77 w 136"/>
                <a:gd name="T25" fmla="*/ 33 h 168"/>
                <a:gd name="T26" fmla="*/ 54 w 136"/>
                <a:gd name="T27" fmla="*/ 46 h 168"/>
                <a:gd name="T28" fmla="*/ 64 w 136"/>
                <a:gd name="T29" fmla="*/ 58 h 168"/>
                <a:gd name="T30" fmla="*/ 94 w 136"/>
                <a:gd name="T31" fmla="*/ 65 h 168"/>
                <a:gd name="T32" fmla="*/ 136 w 136"/>
                <a:gd name="T33" fmla="*/ 115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68">
                  <a:moveTo>
                    <a:pt x="136" y="115"/>
                  </a:moveTo>
                  <a:cubicBezTo>
                    <a:pt x="136" y="149"/>
                    <a:pt x="104" y="168"/>
                    <a:pt x="66" y="168"/>
                  </a:cubicBezTo>
                  <a:cubicBezTo>
                    <a:pt x="41" y="168"/>
                    <a:pt x="21" y="164"/>
                    <a:pt x="0" y="156"/>
                  </a:cubicBezTo>
                  <a:cubicBezTo>
                    <a:pt x="14" y="124"/>
                    <a:pt x="14" y="124"/>
                    <a:pt x="14" y="124"/>
                  </a:cubicBezTo>
                  <a:cubicBezTo>
                    <a:pt x="26" y="129"/>
                    <a:pt x="44" y="134"/>
                    <a:pt x="59" y="134"/>
                  </a:cubicBezTo>
                  <a:cubicBezTo>
                    <a:pt x="70" y="134"/>
                    <a:pt x="86" y="133"/>
                    <a:pt x="86" y="119"/>
                  </a:cubicBezTo>
                  <a:cubicBezTo>
                    <a:pt x="86" y="113"/>
                    <a:pt x="82" y="109"/>
                    <a:pt x="75" y="107"/>
                  </a:cubicBezTo>
                  <a:cubicBezTo>
                    <a:pt x="65" y="104"/>
                    <a:pt x="51" y="102"/>
                    <a:pt x="41" y="99"/>
                  </a:cubicBezTo>
                  <a:cubicBezTo>
                    <a:pt x="21" y="93"/>
                    <a:pt x="4" y="83"/>
                    <a:pt x="4" y="53"/>
                  </a:cubicBezTo>
                  <a:cubicBezTo>
                    <a:pt x="4" y="21"/>
                    <a:pt x="32" y="0"/>
                    <a:pt x="71" y="0"/>
                  </a:cubicBezTo>
                  <a:cubicBezTo>
                    <a:pt x="96" y="0"/>
                    <a:pt x="112" y="3"/>
                    <a:pt x="126" y="8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07" y="37"/>
                    <a:pt x="90" y="33"/>
                    <a:pt x="77" y="33"/>
                  </a:cubicBezTo>
                  <a:cubicBezTo>
                    <a:pt x="64" y="33"/>
                    <a:pt x="54" y="38"/>
                    <a:pt x="54" y="46"/>
                  </a:cubicBezTo>
                  <a:cubicBezTo>
                    <a:pt x="54" y="50"/>
                    <a:pt x="57" y="56"/>
                    <a:pt x="64" y="58"/>
                  </a:cubicBezTo>
                  <a:cubicBezTo>
                    <a:pt x="72" y="60"/>
                    <a:pt x="84" y="63"/>
                    <a:pt x="94" y="65"/>
                  </a:cubicBezTo>
                  <a:cubicBezTo>
                    <a:pt x="115" y="70"/>
                    <a:pt x="136" y="82"/>
                    <a:pt x="136" y="1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5" name="Freeform 58"/>
            <p:cNvSpPr>
              <a:spLocks noEditPoints="1"/>
            </p:cNvSpPr>
            <p:nvPr/>
          </p:nvSpPr>
          <p:spPr bwMode="gray">
            <a:xfrm>
              <a:off x="6289675" y="3173413"/>
              <a:ext cx="530225" cy="623888"/>
            </a:xfrm>
            <a:custGeom>
              <a:avLst/>
              <a:gdLst>
                <a:gd name="T0" fmla="*/ 141 w 141"/>
                <a:gd name="T1" fmla="*/ 163 h 166"/>
                <a:gd name="T2" fmla="*/ 95 w 141"/>
                <a:gd name="T3" fmla="*/ 163 h 166"/>
                <a:gd name="T4" fmla="*/ 95 w 141"/>
                <a:gd name="T5" fmla="*/ 150 h 166"/>
                <a:gd name="T6" fmla="*/ 49 w 141"/>
                <a:gd name="T7" fmla="*/ 166 h 166"/>
                <a:gd name="T8" fmla="*/ 0 w 141"/>
                <a:gd name="T9" fmla="*/ 122 h 166"/>
                <a:gd name="T10" fmla="*/ 93 w 141"/>
                <a:gd name="T11" fmla="*/ 61 h 166"/>
                <a:gd name="T12" fmla="*/ 93 w 141"/>
                <a:gd name="T13" fmla="*/ 56 h 166"/>
                <a:gd name="T14" fmla="*/ 65 w 141"/>
                <a:gd name="T15" fmla="*/ 34 h 166"/>
                <a:gd name="T16" fmla="*/ 19 w 141"/>
                <a:gd name="T17" fmla="*/ 49 h 166"/>
                <a:gd name="T18" fmla="*/ 7 w 141"/>
                <a:gd name="T19" fmla="*/ 20 h 166"/>
                <a:gd name="T20" fmla="*/ 79 w 141"/>
                <a:gd name="T21" fmla="*/ 0 h 166"/>
                <a:gd name="T22" fmla="*/ 141 w 141"/>
                <a:gd name="T23" fmla="*/ 50 h 166"/>
                <a:gd name="T24" fmla="*/ 141 w 141"/>
                <a:gd name="T25" fmla="*/ 163 h 166"/>
                <a:gd name="T26" fmla="*/ 93 w 141"/>
                <a:gd name="T27" fmla="*/ 120 h 166"/>
                <a:gd name="T28" fmla="*/ 93 w 141"/>
                <a:gd name="T29" fmla="*/ 91 h 166"/>
                <a:gd name="T30" fmla="*/ 49 w 141"/>
                <a:gd name="T31" fmla="*/ 115 h 166"/>
                <a:gd name="T32" fmla="*/ 69 w 141"/>
                <a:gd name="T33" fmla="*/ 132 h 166"/>
                <a:gd name="T34" fmla="*/ 93 w 141"/>
                <a:gd name="T35" fmla="*/ 12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1" h="166">
                  <a:moveTo>
                    <a:pt x="141" y="163"/>
                  </a:moveTo>
                  <a:cubicBezTo>
                    <a:pt x="95" y="163"/>
                    <a:pt x="95" y="163"/>
                    <a:pt x="95" y="163"/>
                  </a:cubicBezTo>
                  <a:cubicBezTo>
                    <a:pt x="95" y="150"/>
                    <a:pt x="95" y="150"/>
                    <a:pt x="95" y="150"/>
                  </a:cubicBezTo>
                  <a:cubicBezTo>
                    <a:pt x="83" y="161"/>
                    <a:pt x="67" y="166"/>
                    <a:pt x="49" y="166"/>
                  </a:cubicBezTo>
                  <a:cubicBezTo>
                    <a:pt x="20" y="166"/>
                    <a:pt x="0" y="152"/>
                    <a:pt x="0" y="122"/>
                  </a:cubicBezTo>
                  <a:cubicBezTo>
                    <a:pt x="0" y="69"/>
                    <a:pt x="52" y="61"/>
                    <a:pt x="93" y="61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3" y="43"/>
                    <a:pt x="88" y="34"/>
                    <a:pt x="65" y="34"/>
                  </a:cubicBezTo>
                  <a:cubicBezTo>
                    <a:pt x="49" y="34"/>
                    <a:pt x="31" y="42"/>
                    <a:pt x="19" y="49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28" y="8"/>
                    <a:pt x="54" y="0"/>
                    <a:pt x="79" y="0"/>
                  </a:cubicBezTo>
                  <a:cubicBezTo>
                    <a:pt x="117" y="0"/>
                    <a:pt x="141" y="18"/>
                    <a:pt x="141" y="50"/>
                  </a:cubicBezTo>
                  <a:lnTo>
                    <a:pt x="141" y="163"/>
                  </a:lnTo>
                  <a:close/>
                  <a:moveTo>
                    <a:pt x="93" y="120"/>
                  </a:moveTo>
                  <a:cubicBezTo>
                    <a:pt x="93" y="91"/>
                    <a:pt x="93" y="91"/>
                    <a:pt x="93" y="91"/>
                  </a:cubicBezTo>
                  <a:cubicBezTo>
                    <a:pt x="70" y="90"/>
                    <a:pt x="49" y="93"/>
                    <a:pt x="49" y="115"/>
                  </a:cubicBezTo>
                  <a:cubicBezTo>
                    <a:pt x="49" y="128"/>
                    <a:pt x="60" y="132"/>
                    <a:pt x="69" y="132"/>
                  </a:cubicBezTo>
                  <a:cubicBezTo>
                    <a:pt x="79" y="132"/>
                    <a:pt x="87" y="127"/>
                    <a:pt x="93" y="1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6" name="Freeform 59"/>
            <p:cNvSpPr>
              <a:spLocks noEditPoints="1"/>
            </p:cNvSpPr>
            <p:nvPr/>
          </p:nvSpPr>
          <p:spPr bwMode="gray">
            <a:xfrm>
              <a:off x="4502150" y="3173413"/>
              <a:ext cx="596900" cy="623888"/>
            </a:xfrm>
            <a:custGeom>
              <a:avLst/>
              <a:gdLst>
                <a:gd name="T0" fmla="*/ 159 w 159"/>
                <a:gd name="T1" fmla="*/ 77 h 166"/>
                <a:gd name="T2" fmla="*/ 158 w 159"/>
                <a:gd name="T3" fmla="*/ 94 h 166"/>
                <a:gd name="T4" fmla="*/ 53 w 159"/>
                <a:gd name="T5" fmla="*/ 94 h 166"/>
                <a:gd name="T6" fmla="*/ 98 w 159"/>
                <a:gd name="T7" fmla="*/ 130 h 166"/>
                <a:gd name="T8" fmla="*/ 139 w 159"/>
                <a:gd name="T9" fmla="*/ 118 h 166"/>
                <a:gd name="T10" fmla="*/ 152 w 159"/>
                <a:gd name="T11" fmla="*/ 148 h 166"/>
                <a:gd name="T12" fmla="*/ 81 w 159"/>
                <a:gd name="T13" fmla="*/ 166 h 166"/>
                <a:gd name="T14" fmla="*/ 0 w 159"/>
                <a:gd name="T15" fmla="*/ 83 h 166"/>
                <a:gd name="T16" fmla="*/ 84 w 159"/>
                <a:gd name="T17" fmla="*/ 0 h 166"/>
                <a:gd name="T18" fmla="*/ 159 w 159"/>
                <a:gd name="T19" fmla="*/ 77 h 166"/>
                <a:gd name="T20" fmla="*/ 108 w 159"/>
                <a:gd name="T21" fmla="*/ 62 h 166"/>
                <a:gd name="T22" fmla="*/ 83 w 159"/>
                <a:gd name="T23" fmla="*/ 34 h 166"/>
                <a:gd name="T24" fmla="*/ 53 w 159"/>
                <a:gd name="T25" fmla="*/ 62 h 166"/>
                <a:gd name="T26" fmla="*/ 108 w 159"/>
                <a:gd name="T27" fmla="*/ 62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9" h="166">
                  <a:moveTo>
                    <a:pt x="159" y="77"/>
                  </a:moveTo>
                  <a:cubicBezTo>
                    <a:pt x="159" y="83"/>
                    <a:pt x="158" y="88"/>
                    <a:pt x="158" y="94"/>
                  </a:cubicBezTo>
                  <a:cubicBezTo>
                    <a:pt x="53" y="94"/>
                    <a:pt x="53" y="94"/>
                    <a:pt x="53" y="94"/>
                  </a:cubicBezTo>
                  <a:cubicBezTo>
                    <a:pt x="53" y="117"/>
                    <a:pt x="65" y="130"/>
                    <a:pt x="98" y="130"/>
                  </a:cubicBezTo>
                  <a:cubicBezTo>
                    <a:pt x="113" y="130"/>
                    <a:pt x="131" y="124"/>
                    <a:pt x="139" y="118"/>
                  </a:cubicBezTo>
                  <a:cubicBezTo>
                    <a:pt x="152" y="148"/>
                    <a:pt x="152" y="148"/>
                    <a:pt x="152" y="148"/>
                  </a:cubicBezTo>
                  <a:cubicBezTo>
                    <a:pt x="130" y="160"/>
                    <a:pt x="107" y="166"/>
                    <a:pt x="81" y="166"/>
                  </a:cubicBezTo>
                  <a:cubicBezTo>
                    <a:pt x="31" y="166"/>
                    <a:pt x="0" y="134"/>
                    <a:pt x="0" y="83"/>
                  </a:cubicBezTo>
                  <a:cubicBezTo>
                    <a:pt x="0" y="32"/>
                    <a:pt x="41" y="0"/>
                    <a:pt x="84" y="0"/>
                  </a:cubicBezTo>
                  <a:cubicBezTo>
                    <a:pt x="139" y="0"/>
                    <a:pt x="159" y="32"/>
                    <a:pt x="159" y="77"/>
                  </a:cubicBezTo>
                  <a:close/>
                  <a:moveTo>
                    <a:pt x="108" y="62"/>
                  </a:moveTo>
                  <a:cubicBezTo>
                    <a:pt x="109" y="44"/>
                    <a:pt x="100" y="34"/>
                    <a:pt x="83" y="34"/>
                  </a:cubicBezTo>
                  <a:cubicBezTo>
                    <a:pt x="66" y="34"/>
                    <a:pt x="56" y="46"/>
                    <a:pt x="53" y="62"/>
                  </a:cubicBezTo>
                  <a:lnTo>
                    <a:pt x="108" y="6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7" name="Freeform 60"/>
            <p:cNvSpPr>
              <a:spLocks noEditPoints="1"/>
            </p:cNvSpPr>
            <p:nvPr/>
          </p:nvSpPr>
          <p:spPr bwMode="gray">
            <a:xfrm>
              <a:off x="3863975" y="3170238"/>
              <a:ext cx="642938" cy="946150"/>
            </a:xfrm>
            <a:custGeom>
              <a:avLst/>
              <a:gdLst>
                <a:gd name="T0" fmla="*/ 171 w 171"/>
                <a:gd name="T1" fmla="*/ 183 h 252"/>
                <a:gd name="T2" fmla="*/ 79 w 171"/>
                <a:gd name="T3" fmla="*/ 251 h 252"/>
                <a:gd name="T4" fmla="*/ 0 w 171"/>
                <a:gd name="T5" fmla="*/ 201 h 252"/>
                <a:gd name="T6" fmla="*/ 26 w 171"/>
                <a:gd name="T7" fmla="*/ 165 h 252"/>
                <a:gd name="T8" fmla="*/ 11 w 171"/>
                <a:gd name="T9" fmla="*/ 155 h 252"/>
                <a:gd name="T10" fmla="*/ 3 w 171"/>
                <a:gd name="T11" fmla="*/ 130 h 252"/>
                <a:gd name="T12" fmla="*/ 33 w 171"/>
                <a:gd name="T13" fmla="*/ 91 h 252"/>
                <a:gd name="T14" fmla="*/ 12 w 171"/>
                <a:gd name="T15" fmla="*/ 52 h 252"/>
                <a:gd name="T16" fmla="*/ 86 w 171"/>
                <a:gd name="T17" fmla="*/ 0 h 252"/>
                <a:gd name="T18" fmla="*/ 156 w 171"/>
                <a:gd name="T19" fmla="*/ 51 h 252"/>
                <a:gd name="T20" fmla="*/ 81 w 171"/>
                <a:gd name="T21" fmla="*/ 105 h 252"/>
                <a:gd name="T22" fmla="*/ 61 w 171"/>
                <a:gd name="T23" fmla="*/ 103 h 252"/>
                <a:gd name="T24" fmla="*/ 49 w 171"/>
                <a:gd name="T25" fmla="*/ 117 h 252"/>
                <a:gd name="T26" fmla="*/ 73 w 171"/>
                <a:gd name="T27" fmla="*/ 131 h 252"/>
                <a:gd name="T28" fmla="*/ 112 w 171"/>
                <a:gd name="T29" fmla="*/ 131 h 252"/>
                <a:gd name="T30" fmla="*/ 171 w 171"/>
                <a:gd name="T31" fmla="*/ 183 h 252"/>
                <a:gd name="T32" fmla="*/ 108 w 171"/>
                <a:gd name="T33" fmla="*/ 53 h 252"/>
                <a:gd name="T34" fmla="*/ 84 w 171"/>
                <a:gd name="T35" fmla="*/ 29 h 252"/>
                <a:gd name="T36" fmla="*/ 60 w 171"/>
                <a:gd name="T37" fmla="*/ 53 h 252"/>
                <a:gd name="T38" fmla="*/ 83 w 171"/>
                <a:gd name="T39" fmla="*/ 77 h 252"/>
                <a:gd name="T40" fmla="*/ 108 w 171"/>
                <a:gd name="T41" fmla="*/ 53 h 252"/>
                <a:gd name="T42" fmla="*/ 121 w 171"/>
                <a:gd name="T43" fmla="*/ 190 h 252"/>
                <a:gd name="T44" fmla="*/ 100 w 171"/>
                <a:gd name="T45" fmla="*/ 172 h 252"/>
                <a:gd name="T46" fmla="*/ 57 w 171"/>
                <a:gd name="T47" fmla="*/ 172 h 252"/>
                <a:gd name="T48" fmla="*/ 40 w 171"/>
                <a:gd name="T49" fmla="*/ 195 h 252"/>
                <a:gd name="T50" fmla="*/ 81 w 171"/>
                <a:gd name="T51" fmla="*/ 218 h 252"/>
                <a:gd name="T52" fmla="*/ 121 w 171"/>
                <a:gd name="T53" fmla="*/ 190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1" h="252">
                  <a:moveTo>
                    <a:pt x="171" y="183"/>
                  </a:moveTo>
                  <a:cubicBezTo>
                    <a:pt x="171" y="230"/>
                    <a:pt x="124" y="251"/>
                    <a:pt x="79" y="251"/>
                  </a:cubicBezTo>
                  <a:cubicBezTo>
                    <a:pt x="39" y="252"/>
                    <a:pt x="0" y="240"/>
                    <a:pt x="0" y="201"/>
                  </a:cubicBezTo>
                  <a:cubicBezTo>
                    <a:pt x="0" y="183"/>
                    <a:pt x="16" y="171"/>
                    <a:pt x="26" y="165"/>
                  </a:cubicBezTo>
                  <a:cubicBezTo>
                    <a:pt x="20" y="162"/>
                    <a:pt x="15" y="160"/>
                    <a:pt x="11" y="155"/>
                  </a:cubicBezTo>
                  <a:cubicBezTo>
                    <a:pt x="7" y="150"/>
                    <a:pt x="3" y="142"/>
                    <a:pt x="3" y="130"/>
                  </a:cubicBezTo>
                  <a:cubicBezTo>
                    <a:pt x="3" y="115"/>
                    <a:pt x="17" y="100"/>
                    <a:pt x="33" y="91"/>
                  </a:cubicBezTo>
                  <a:cubicBezTo>
                    <a:pt x="24" y="86"/>
                    <a:pt x="12" y="78"/>
                    <a:pt x="12" y="52"/>
                  </a:cubicBezTo>
                  <a:cubicBezTo>
                    <a:pt x="12" y="18"/>
                    <a:pt x="44" y="0"/>
                    <a:pt x="86" y="0"/>
                  </a:cubicBezTo>
                  <a:cubicBezTo>
                    <a:pt x="122" y="0"/>
                    <a:pt x="156" y="9"/>
                    <a:pt x="156" y="51"/>
                  </a:cubicBezTo>
                  <a:cubicBezTo>
                    <a:pt x="156" y="91"/>
                    <a:pt x="119" y="105"/>
                    <a:pt x="81" y="105"/>
                  </a:cubicBezTo>
                  <a:cubicBezTo>
                    <a:pt x="73" y="105"/>
                    <a:pt x="67" y="104"/>
                    <a:pt x="61" y="103"/>
                  </a:cubicBezTo>
                  <a:cubicBezTo>
                    <a:pt x="57" y="105"/>
                    <a:pt x="49" y="111"/>
                    <a:pt x="49" y="117"/>
                  </a:cubicBezTo>
                  <a:cubicBezTo>
                    <a:pt x="49" y="129"/>
                    <a:pt x="66" y="131"/>
                    <a:pt x="73" y="131"/>
                  </a:cubicBezTo>
                  <a:cubicBezTo>
                    <a:pt x="112" y="131"/>
                    <a:pt x="112" y="131"/>
                    <a:pt x="112" y="131"/>
                  </a:cubicBezTo>
                  <a:cubicBezTo>
                    <a:pt x="149" y="131"/>
                    <a:pt x="171" y="148"/>
                    <a:pt x="171" y="183"/>
                  </a:cubicBezTo>
                  <a:close/>
                  <a:moveTo>
                    <a:pt x="108" y="53"/>
                  </a:moveTo>
                  <a:cubicBezTo>
                    <a:pt x="108" y="40"/>
                    <a:pt x="101" y="29"/>
                    <a:pt x="84" y="29"/>
                  </a:cubicBezTo>
                  <a:cubicBezTo>
                    <a:pt x="69" y="29"/>
                    <a:pt x="60" y="42"/>
                    <a:pt x="60" y="53"/>
                  </a:cubicBezTo>
                  <a:cubicBezTo>
                    <a:pt x="60" y="67"/>
                    <a:pt x="68" y="77"/>
                    <a:pt x="83" y="77"/>
                  </a:cubicBezTo>
                  <a:cubicBezTo>
                    <a:pt x="100" y="77"/>
                    <a:pt x="108" y="66"/>
                    <a:pt x="108" y="53"/>
                  </a:cubicBezTo>
                  <a:close/>
                  <a:moveTo>
                    <a:pt x="121" y="190"/>
                  </a:moveTo>
                  <a:cubicBezTo>
                    <a:pt x="121" y="177"/>
                    <a:pt x="111" y="172"/>
                    <a:pt x="100" y="172"/>
                  </a:cubicBezTo>
                  <a:cubicBezTo>
                    <a:pt x="57" y="172"/>
                    <a:pt x="57" y="172"/>
                    <a:pt x="57" y="172"/>
                  </a:cubicBezTo>
                  <a:cubicBezTo>
                    <a:pt x="50" y="176"/>
                    <a:pt x="40" y="184"/>
                    <a:pt x="40" y="195"/>
                  </a:cubicBezTo>
                  <a:cubicBezTo>
                    <a:pt x="40" y="209"/>
                    <a:pt x="59" y="218"/>
                    <a:pt x="81" y="218"/>
                  </a:cubicBezTo>
                  <a:cubicBezTo>
                    <a:pt x="104" y="218"/>
                    <a:pt x="121" y="208"/>
                    <a:pt x="121" y="19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8" name="Freeform 61"/>
            <p:cNvSpPr>
              <a:spLocks noEditPoints="1"/>
            </p:cNvSpPr>
            <p:nvPr/>
          </p:nvSpPr>
          <p:spPr bwMode="gray">
            <a:xfrm>
              <a:off x="6929438" y="3563938"/>
              <a:ext cx="206375" cy="203200"/>
            </a:xfrm>
            <a:custGeom>
              <a:avLst/>
              <a:gdLst>
                <a:gd name="T0" fmla="*/ 27 w 55"/>
                <a:gd name="T1" fmla="*/ 0 h 54"/>
                <a:gd name="T2" fmla="*/ 55 w 55"/>
                <a:gd name="T3" fmla="*/ 27 h 54"/>
                <a:gd name="T4" fmla="*/ 27 w 55"/>
                <a:gd name="T5" fmla="*/ 54 h 54"/>
                <a:gd name="T6" fmla="*/ 0 w 55"/>
                <a:gd name="T7" fmla="*/ 27 h 54"/>
                <a:gd name="T8" fmla="*/ 27 w 55"/>
                <a:gd name="T9" fmla="*/ 0 h 54"/>
                <a:gd name="T10" fmla="*/ 27 w 55"/>
                <a:gd name="T11" fmla="*/ 49 h 54"/>
                <a:gd name="T12" fmla="*/ 48 w 55"/>
                <a:gd name="T13" fmla="*/ 27 h 54"/>
                <a:gd name="T14" fmla="*/ 27 w 55"/>
                <a:gd name="T15" fmla="*/ 6 h 54"/>
                <a:gd name="T16" fmla="*/ 7 w 55"/>
                <a:gd name="T17" fmla="*/ 27 h 54"/>
                <a:gd name="T18" fmla="*/ 27 w 55"/>
                <a:gd name="T19" fmla="*/ 49 h 54"/>
                <a:gd name="T20" fmla="*/ 17 w 55"/>
                <a:gd name="T21" fmla="*/ 12 h 54"/>
                <a:gd name="T22" fmla="*/ 28 w 55"/>
                <a:gd name="T23" fmla="*/ 12 h 54"/>
                <a:gd name="T24" fmla="*/ 40 w 55"/>
                <a:gd name="T25" fmla="*/ 21 h 54"/>
                <a:gd name="T26" fmla="*/ 32 w 55"/>
                <a:gd name="T27" fmla="*/ 29 h 54"/>
                <a:gd name="T28" fmla="*/ 40 w 55"/>
                <a:gd name="T29" fmla="*/ 42 h 54"/>
                <a:gd name="T30" fmla="*/ 34 w 55"/>
                <a:gd name="T31" fmla="*/ 42 h 54"/>
                <a:gd name="T32" fmla="*/ 26 w 55"/>
                <a:gd name="T33" fmla="*/ 29 h 54"/>
                <a:gd name="T34" fmla="*/ 23 w 55"/>
                <a:gd name="T35" fmla="*/ 29 h 54"/>
                <a:gd name="T36" fmla="*/ 23 w 55"/>
                <a:gd name="T37" fmla="*/ 42 h 54"/>
                <a:gd name="T38" fmla="*/ 17 w 55"/>
                <a:gd name="T39" fmla="*/ 42 h 54"/>
                <a:gd name="T40" fmla="*/ 17 w 55"/>
                <a:gd name="T41" fmla="*/ 12 h 54"/>
                <a:gd name="T42" fmla="*/ 23 w 55"/>
                <a:gd name="T43" fmla="*/ 25 h 54"/>
                <a:gd name="T44" fmla="*/ 28 w 55"/>
                <a:gd name="T45" fmla="*/ 25 h 54"/>
                <a:gd name="T46" fmla="*/ 34 w 55"/>
                <a:gd name="T47" fmla="*/ 20 h 54"/>
                <a:gd name="T48" fmla="*/ 28 w 55"/>
                <a:gd name="T49" fmla="*/ 17 h 54"/>
                <a:gd name="T50" fmla="*/ 23 w 55"/>
                <a:gd name="T51" fmla="*/ 17 h 54"/>
                <a:gd name="T52" fmla="*/ 23 w 55"/>
                <a:gd name="T53" fmla="*/ 2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4">
                  <a:moveTo>
                    <a:pt x="27" y="0"/>
                  </a:moveTo>
                  <a:cubicBezTo>
                    <a:pt x="42" y="0"/>
                    <a:pt x="55" y="11"/>
                    <a:pt x="55" y="27"/>
                  </a:cubicBezTo>
                  <a:cubicBezTo>
                    <a:pt x="55" y="44"/>
                    <a:pt x="42" y="54"/>
                    <a:pt x="27" y="54"/>
                  </a:cubicBezTo>
                  <a:cubicBezTo>
                    <a:pt x="13" y="54"/>
                    <a:pt x="0" y="44"/>
                    <a:pt x="0" y="27"/>
                  </a:cubicBezTo>
                  <a:cubicBezTo>
                    <a:pt x="0" y="11"/>
                    <a:pt x="13" y="0"/>
                    <a:pt x="27" y="0"/>
                  </a:cubicBezTo>
                  <a:close/>
                  <a:moveTo>
                    <a:pt x="27" y="49"/>
                  </a:moveTo>
                  <a:cubicBezTo>
                    <a:pt x="39" y="49"/>
                    <a:pt x="48" y="40"/>
                    <a:pt x="48" y="27"/>
                  </a:cubicBezTo>
                  <a:cubicBezTo>
                    <a:pt x="48" y="15"/>
                    <a:pt x="39" y="6"/>
                    <a:pt x="27" y="6"/>
                  </a:cubicBezTo>
                  <a:cubicBezTo>
                    <a:pt x="16" y="6"/>
                    <a:pt x="7" y="15"/>
                    <a:pt x="7" y="27"/>
                  </a:cubicBezTo>
                  <a:cubicBezTo>
                    <a:pt x="7" y="40"/>
                    <a:pt x="16" y="49"/>
                    <a:pt x="27" y="49"/>
                  </a:cubicBezTo>
                  <a:close/>
                  <a:moveTo>
                    <a:pt x="17" y="12"/>
                  </a:moveTo>
                  <a:cubicBezTo>
                    <a:pt x="28" y="12"/>
                    <a:pt x="28" y="12"/>
                    <a:pt x="28" y="12"/>
                  </a:cubicBezTo>
                  <a:cubicBezTo>
                    <a:pt x="36" y="12"/>
                    <a:pt x="40" y="14"/>
                    <a:pt x="40" y="21"/>
                  </a:cubicBezTo>
                  <a:cubicBezTo>
                    <a:pt x="40" y="27"/>
                    <a:pt x="36" y="29"/>
                    <a:pt x="32" y="29"/>
                  </a:cubicBezTo>
                  <a:cubicBezTo>
                    <a:pt x="40" y="42"/>
                    <a:pt x="40" y="42"/>
                    <a:pt x="40" y="42"/>
                  </a:cubicBezTo>
                  <a:cubicBezTo>
                    <a:pt x="34" y="42"/>
                    <a:pt x="34" y="42"/>
                    <a:pt x="34" y="42"/>
                  </a:cubicBezTo>
                  <a:cubicBezTo>
                    <a:pt x="26" y="29"/>
                    <a:pt x="26" y="29"/>
                    <a:pt x="26" y="29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17" y="42"/>
                    <a:pt x="17" y="42"/>
                    <a:pt x="17" y="42"/>
                  </a:cubicBezTo>
                  <a:lnTo>
                    <a:pt x="17" y="12"/>
                  </a:lnTo>
                  <a:close/>
                  <a:moveTo>
                    <a:pt x="23" y="25"/>
                  </a:moveTo>
                  <a:cubicBezTo>
                    <a:pt x="28" y="25"/>
                    <a:pt x="28" y="25"/>
                    <a:pt x="28" y="25"/>
                  </a:cubicBezTo>
                  <a:cubicBezTo>
                    <a:pt x="31" y="25"/>
                    <a:pt x="34" y="24"/>
                    <a:pt x="34" y="20"/>
                  </a:cubicBezTo>
                  <a:cubicBezTo>
                    <a:pt x="34" y="17"/>
                    <a:pt x="30" y="17"/>
                    <a:pt x="28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2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39" name="Rectangle 12"/>
          <p:cNvSpPr>
            <a:spLocks noChangeArrowheads="1"/>
          </p:cNvSpPr>
          <p:nvPr userDrawn="1"/>
        </p:nvSpPr>
        <p:spPr bwMode="gray">
          <a:xfrm>
            <a:off x="1" y="5961702"/>
            <a:ext cx="12192001" cy="11094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40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1346201" y="6072651"/>
            <a:ext cx="3622185" cy="776451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1067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GB"/>
              <a:t>Classification: INTERNAL USE ONLY</a:t>
            </a:r>
          </a:p>
        </p:txBody>
      </p:sp>
      <p:pic>
        <p:nvPicPr>
          <p:cNvPr id="4" name="Grafik 5">
            <a:extLst>
              <a:ext uri="{FF2B5EF4-FFF2-40B4-BE49-F238E27FC236}">
                <a16:creationId xmlns:a16="http://schemas.microsoft.com/office/drawing/2014/main" id="{C8B180D4-D03C-4D3D-0564-B9AC115003D4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61224" y="6121383"/>
            <a:ext cx="2902825" cy="685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55527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</p:sldLayoutIdLst>
  <p:hf hdr="0" dt="0"/>
  <p:txStyles>
    <p:titleStyle>
      <a:lvl1pPr algn="l" defTabSz="1219170" rtl="0" eaLnBrk="1" latinLnBrk="0" hangingPunct="1">
        <a:lnSpc>
          <a:spcPts val="4267"/>
        </a:lnSpc>
        <a:spcBef>
          <a:spcPct val="0"/>
        </a:spcBef>
        <a:buNone/>
        <a:defRPr sz="4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0"/>
        </a:spcBef>
        <a:spcAft>
          <a:spcPts val="1333"/>
        </a:spcAft>
        <a:buFont typeface="Arial" panose="020B0604020202020204" pitchFamily="34" charset="0"/>
        <a:buNone/>
        <a:defRPr sz="24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0"/>
        </a:spcBef>
        <a:spcAft>
          <a:spcPts val="1333"/>
        </a:spcAft>
        <a:buFont typeface="Arial" panose="020B0604020202020204" pitchFamily="34" charset="0"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1219170" rtl="0" eaLnBrk="1" latinLnBrk="0" hangingPunct="1">
        <a:lnSpc>
          <a:spcPct val="100000"/>
        </a:lnSpc>
        <a:spcBef>
          <a:spcPts val="0"/>
        </a:spcBef>
        <a:spcAft>
          <a:spcPts val="1333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241294" indent="-241294" algn="l" defTabSz="1219170" rtl="0" eaLnBrk="1" latinLnBrk="0" hangingPunct="1">
        <a:lnSpc>
          <a:spcPct val="100000"/>
        </a:lnSpc>
        <a:spcBef>
          <a:spcPts val="0"/>
        </a:spcBef>
        <a:spcAft>
          <a:spcPts val="1333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482588" indent="-241294" algn="l" defTabSz="121917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-"/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36">
          <p15:clr>
            <a:srgbClr val="F26B43"/>
          </p15:clr>
        </p15:guide>
        <p15:guide id="2" pos="5261">
          <p15:clr>
            <a:srgbClr val="F26B43"/>
          </p15:clr>
        </p15:guide>
        <p15:guide id="3" orient="horz" pos="2561">
          <p15:clr>
            <a:srgbClr val="F26B43"/>
          </p15:clr>
        </p15:guide>
        <p15:guide id="4" orient="horz" pos="779">
          <p15:clr>
            <a:srgbClr val="F26B43"/>
          </p15:clr>
        </p15:guide>
        <p15:guide id="5" orient="horz" pos="382">
          <p15:clr>
            <a:srgbClr val="F26B43"/>
          </p15:clr>
        </p15:guide>
        <p15:guide id="6" orient="horz" pos="701">
          <p15:clr>
            <a:srgbClr val="F26B43"/>
          </p15:clr>
        </p15:guide>
        <p15:guide id="7" orient="horz" pos="2692">
          <p15:clr>
            <a:srgbClr val="F26B43"/>
          </p15:clr>
        </p15:guide>
        <p15:guide id="8" orient="horz" pos="189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00412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11349495" y="6362979"/>
            <a:ext cx="276225" cy="203200"/>
          </a:xfrm>
          <a:custGeom>
            <a:avLst/>
            <a:gdLst/>
            <a:ahLst/>
            <a:cxnLst/>
            <a:rect l="l" t="t" r="r" b="b"/>
            <a:pathLst>
              <a:path w="276225" h="203200">
                <a:moveTo>
                  <a:pt x="146761" y="91160"/>
                </a:moveTo>
                <a:lnTo>
                  <a:pt x="143522" y="71704"/>
                </a:lnTo>
                <a:lnTo>
                  <a:pt x="134150" y="56743"/>
                </a:lnTo>
                <a:lnTo>
                  <a:pt x="119164" y="47142"/>
                </a:lnTo>
                <a:lnTo>
                  <a:pt x="99085" y="43751"/>
                </a:lnTo>
                <a:lnTo>
                  <a:pt x="84734" y="44958"/>
                </a:lnTo>
                <a:lnTo>
                  <a:pt x="71094" y="48387"/>
                </a:lnTo>
                <a:lnTo>
                  <a:pt x="58140" y="53759"/>
                </a:lnTo>
                <a:lnTo>
                  <a:pt x="45872" y="60769"/>
                </a:lnTo>
                <a:lnTo>
                  <a:pt x="45872" y="47396"/>
                </a:lnTo>
                <a:lnTo>
                  <a:pt x="0" y="47396"/>
                </a:lnTo>
                <a:lnTo>
                  <a:pt x="0" y="199936"/>
                </a:lnTo>
                <a:lnTo>
                  <a:pt x="47713" y="199936"/>
                </a:lnTo>
                <a:lnTo>
                  <a:pt x="47713" y="92379"/>
                </a:lnTo>
                <a:lnTo>
                  <a:pt x="54089" y="87299"/>
                </a:lnTo>
                <a:lnTo>
                  <a:pt x="60693" y="83261"/>
                </a:lnTo>
                <a:lnTo>
                  <a:pt x="67995" y="80581"/>
                </a:lnTo>
                <a:lnTo>
                  <a:pt x="76454" y="79616"/>
                </a:lnTo>
                <a:lnTo>
                  <a:pt x="86944" y="81076"/>
                </a:lnTo>
                <a:lnTo>
                  <a:pt x="93954" y="85382"/>
                </a:lnTo>
                <a:lnTo>
                  <a:pt x="97866" y="92430"/>
                </a:lnTo>
                <a:lnTo>
                  <a:pt x="99085" y="102095"/>
                </a:lnTo>
                <a:lnTo>
                  <a:pt x="99085" y="199936"/>
                </a:lnTo>
                <a:lnTo>
                  <a:pt x="146761" y="199936"/>
                </a:lnTo>
                <a:lnTo>
                  <a:pt x="146761" y="91160"/>
                </a:lnTo>
                <a:close/>
              </a:path>
              <a:path w="276225" h="203200">
                <a:moveTo>
                  <a:pt x="275818" y="47396"/>
                </a:moveTo>
                <a:lnTo>
                  <a:pt x="233603" y="47396"/>
                </a:lnTo>
                <a:lnTo>
                  <a:pt x="233603" y="0"/>
                </a:lnTo>
                <a:lnTo>
                  <a:pt x="185915" y="13373"/>
                </a:lnTo>
                <a:lnTo>
                  <a:pt x="185915" y="47396"/>
                </a:lnTo>
                <a:lnTo>
                  <a:pt x="161442" y="47396"/>
                </a:lnTo>
                <a:lnTo>
                  <a:pt x="161442" y="77787"/>
                </a:lnTo>
                <a:lnTo>
                  <a:pt x="185915" y="77787"/>
                </a:lnTo>
                <a:lnTo>
                  <a:pt x="185915" y="158000"/>
                </a:lnTo>
                <a:lnTo>
                  <a:pt x="190385" y="179908"/>
                </a:lnTo>
                <a:lnTo>
                  <a:pt x="202349" y="193713"/>
                </a:lnTo>
                <a:lnTo>
                  <a:pt x="219710" y="200901"/>
                </a:lnTo>
                <a:lnTo>
                  <a:pt x="240347" y="202971"/>
                </a:lnTo>
                <a:lnTo>
                  <a:pt x="248462" y="202666"/>
                </a:lnTo>
                <a:lnTo>
                  <a:pt x="257619" y="201841"/>
                </a:lnTo>
                <a:lnTo>
                  <a:pt x="275818" y="199326"/>
                </a:lnTo>
                <a:lnTo>
                  <a:pt x="272135" y="168338"/>
                </a:lnTo>
                <a:lnTo>
                  <a:pt x="267233" y="169557"/>
                </a:lnTo>
                <a:lnTo>
                  <a:pt x="262343" y="170154"/>
                </a:lnTo>
                <a:lnTo>
                  <a:pt x="257441" y="170154"/>
                </a:lnTo>
                <a:lnTo>
                  <a:pt x="248043" y="169278"/>
                </a:lnTo>
                <a:lnTo>
                  <a:pt x="240487" y="165836"/>
                </a:lnTo>
                <a:lnTo>
                  <a:pt x="235445" y="158623"/>
                </a:lnTo>
                <a:lnTo>
                  <a:pt x="233603" y="146456"/>
                </a:lnTo>
                <a:lnTo>
                  <a:pt x="233603" y="77787"/>
                </a:lnTo>
                <a:lnTo>
                  <a:pt x="275818" y="77787"/>
                </a:lnTo>
                <a:lnTo>
                  <a:pt x="275818" y="47396"/>
                </a:lnTo>
                <a:close/>
              </a:path>
            </a:pathLst>
          </a:custGeom>
          <a:solidFill>
            <a:srgbClr val="FDFDF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g object 18"/>
          <p:cNvSpPr/>
          <p:nvPr/>
        </p:nvSpPr>
        <p:spPr>
          <a:xfrm>
            <a:off x="11126292" y="6280315"/>
            <a:ext cx="127000" cy="124460"/>
          </a:xfrm>
          <a:custGeom>
            <a:avLst/>
            <a:gdLst/>
            <a:ahLst/>
            <a:cxnLst/>
            <a:rect l="l" t="t" r="r" b="b"/>
            <a:pathLst>
              <a:path w="127000" h="124460">
                <a:moveTo>
                  <a:pt x="126578" y="0"/>
                </a:moveTo>
                <a:lnTo>
                  <a:pt x="70180" y="11548"/>
                </a:lnTo>
                <a:lnTo>
                  <a:pt x="18342" y="39513"/>
                </a:lnTo>
                <a:lnTo>
                  <a:pt x="889" y="76086"/>
                </a:lnTo>
                <a:lnTo>
                  <a:pt x="0" y="89958"/>
                </a:lnTo>
                <a:lnTo>
                  <a:pt x="250" y="98688"/>
                </a:lnTo>
                <a:lnTo>
                  <a:pt x="1075" y="107422"/>
                </a:lnTo>
                <a:lnTo>
                  <a:pt x="2586" y="115930"/>
                </a:lnTo>
                <a:lnTo>
                  <a:pt x="4894" y="123984"/>
                </a:lnTo>
                <a:lnTo>
                  <a:pt x="10388" y="121429"/>
                </a:lnTo>
                <a:lnTo>
                  <a:pt x="17660" y="119956"/>
                </a:lnTo>
                <a:lnTo>
                  <a:pt x="25274" y="119282"/>
                </a:lnTo>
                <a:lnTo>
                  <a:pt x="46887" y="118921"/>
                </a:lnTo>
                <a:lnTo>
                  <a:pt x="61229" y="117070"/>
                </a:lnTo>
                <a:lnTo>
                  <a:pt x="101480" y="80856"/>
                </a:lnTo>
                <a:lnTo>
                  <a:pt x="113705" y="29609"/>
                </a:lnTo>
                <a:lnTo>
                  <a:pt x="126578" y="0"/>
                </a:lnTo>
                <a:close/>
              </a:path>
            </a:pathLst>
          </a:custGeom>
          <a:solidFill>
            <a:srgbClr val="FDFDF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bg object 19"/>
          <p:cNvSpPr/>
          <p:nvPr/>
        </p:nvSpPr>
        <p:spPr>
          <a:xfrm>
            <a:off x="10537380" y="6403695"/>
            <a:ext cx="457834" cy="240665"/>
          </a:xfrm>
          <a:custGeom>
            <a:avLst/>
            <a:gdLst/>
            <a:ahLst/>
            <a:cxnLst/>
            <a:rect l="l" t="t" r="r" b="b"/>
            <a:pathLst>
              <a:path w="457834" h="240665">
                <a:moveTo>
                  <a:pt x="130873" y="110604"/>
                </a:moveTo>
                <a:lnTo>
                  <a:pt x="105841" y="67360"/>
                </a:lnTo>
                <a:lnTo>
                  <a:pt x="68072" y="57645"/>
                </a:lnTo>
                <a:lnTo>
                  <a:pt x="61760" y="55918"/>
                </a:lnTo>
                <a:lnTo>
                  <a:pt x="55041" y="53479"/>
                </a:lnTo>
                <a:lnTo>
                  <a:pt x="51981" y="48615"/>
                </a:lnTo>
                <a:lnTo>
                  <a:pt x="51981" y="44361"/>
                </a:lnTo>
                <a:lnTo>
                  <a:pt x="53619" y="39039"/>
                </a:lnTo>
                <a:lnTo>
                  <a:pt x="58242" y="35026"/>
                </a:lnTo>
                <a:lnTo>
                  <a:pt x="65392" y="32486"/>
                </a:lnTo>
                <a:lnTo>
                  <a:pt x="74599" y="31597"/>
                </a:lnTo>
                <a:lnTo>
                  <a:pt x="84099" y="32308"/>
                </a:lnTo>
                <a:lnTo>
                  <a:pt x="94094" y="34036"/>
                </a:lnTo>
                <a:lnTo>
                  <a:pt x="103073" y="36220"/>
                </a:lnTo>
                <a:lnTo>
                  <a:pt x="109461" y="38290"/>
                </a:lnTo>
                <a:lnTo>
                  <a:pt x="121691" y="7289"/>
                </a:lnTo>
                <a:lnTo>
                  <a:pt x="110794" y="4610"/>
                </a:lnTo>
                <a:lnTo>
                  <a:pt x="98679" y="2286"/>
                </a:lnTo>
                <a:lnTo>
                  <a:pt x="84632" y="622"/>
                </a:lnTo>
                <a:lnTo>
                  <a:pt x="67881" y="0"/>
                </a:lnTo>
                <a:lnTo>
                  <a:pt x="42468" y="3619"/>
                </a:lnTo>
                <a:lnTo>
                  <a:pt x="22313" y="13906"/>
                </a:lnTo>
                <a:lnTo>
                  <a:pt x="9055" y="29997"/>
                </a:lnTo>
                <a:lnTo>
                  <a:pt x="4279" y="51054"/>
                </a:lnTo>
                <a:lnTo>
                  <a:pt x="7073" y="69265"/>
                </a:lnTo>
                <a:lnTo>
                  <a:pt x="14681" y="81889"/>
                </a:lnTo>
                <a:lnTo>
                  <a:pt x="25946" y="90182"/>
                </a:lnTo>
                <a:lnTo>
                  <a:pt x="39751" y="95415"/>
                </a:lnTo>
                <a:lnTo>
                  <a:pt x="72161" y="102704"/>
                </a:lnTo>
                <a:lnTo>
                  <a:pt x="79502" y="105130"/>
                </a:lnTo>
                <a:lnTo>
                  <a:pt x="83172" y="108178"/>
                </a:lnTo>
                <a:lnTo>
                  <a:pt x="83172" y="114249"/>
                </a:lnTo>
                <a:lnTo>
                  <a:pt x="80606" y="122262"/>
                </a:lnTo>
                <a:lnTo>
                  <a:pt x="74142" y="126860"/>
                </a:lnTo>
                <a:lnTo>
                  <a:pt x="65620" y="128955"/>
                </a:lnTo>
                <a:lnTo>
                  <a:pt x="56870" y="129438"/>
                </a:lnTo>
                <a:lnTo>
                  <a:pt x="45783" y="128511"/>
                </a:lnTo>
                <a:lnTo>
                  <a:pt x="34163" y="126098"/>
                </a:lnTo>
                <a:lnTo>
                  <a:pt x="22898" y="122783"/>
                </a:lnTo>
                <a:lnTo>
                  <a:pt x="12839" y="119113"/>
                </a:lnTo>
                <a:lnTo>
                  <a:pt x="0" y="150101"/>
                </a:lnTo>
                <a:lnTo>
                  <a:pt x="15100" y="155244"/>
                </a:lnTo>
                <a:lnTo>
                  <a:pt x="30416" y="158838"/>
                </a:lnTo>
                <a:lnTo>
                  <a:pt x="46431" y="160959"/>
                </a:lnTo>
                <a:lnTo>
                  <a:pt x="63601" y="161645"/>
                </a:lnTo>
                <a:lnTo>
                  <a:pt x="89585" y="158292"/>
                </a:lnTo>
                <a:lnTo>
                  <a:pt x="110998" y="148437"/>
                </a:lnTo>
                <a:lnTo>
                  <a:pt x="125514" y="132422"/>
                </a:lnTo>
                <a:lnTo>
                  <a:pt x="130873" y="110604"/>
                </a:lnTo>
                <a:close/>
              </a:path>
              <a:path w="457834" h="240665">
                <a:moveTo>
                  <a:pt x="299643" y="6680"/>
                </a:moveTo>
                <a:lnTo>
                  <a:pt x="255016" y="6680"/>
                </a:lnTo>
                <a:lnTo>
                  <a:pt x="226263" y="80822"/>
                </a:lnTo>
                <a:lnTo>
                  <a:pt x="217703" y="107569"/>
                </a:lnTo>
                <a:lnTo>
                  <a:pt x="213410" y="88938"/>
                </a:lnTo>
                <a:lnTo>
                  <a:pt x="183464" y="6680"/>
                </a:lnTo>
                <a:lnTo>
                  <a:pt x="132092" y="6680"/>
                </a:lnTo>
                <a:lnTo>
                  <a:pt x="191414" y="159219"/>
                </a:lnTo>
                <a:lnTo>
                  <a:pt x="179298" y="185369"/>
                </a:lnTo>
                <a:lnTo>
                  <a:pt x="170916" y="197510"/>
                </a:lnTo>
                <a:lnTo>
                  <a:pt x="160718" y="205536"/>
                </a:lnTo>
                <a:lnTo>
                  <a:pt x="147993" y="208445"/>
                </a:lnTo>
                <a:lnTo>
                  <a:pt x="141871" y="208445"/>
                </a:lnTo>
                <a:lnTo>
                  <a:pt x="135763" y="207835"/>
                </a:lnTo>
                <a:lnTo>
                  <a:pt x="127203" y="206019"/>
                </a:lnTo>
                <a:lnTo>
                  <a:pt x="120472" y="236397"/>
                </a:lnTo>
                <a:lnTo>
                  <a:pt x="135915" y="239433"/>
                </a:lnTo>
                <a:lnTo>
                  <a:pt x="144894" y="240334"/>
                </a:lnTo>
                <a:lnTo>
                  <a:pt x="155943" y="240652"/>
                </a:lnTo>
                <a:lnTo>
                  <a:pt x="178231" y="236982"/>
                </a:lnTo>
                <a:lnTo>
                  <a:pt x="197142" y="226758"/>
                </a:lnTo>
                <a:lnTo>
                  <a:pt x="212267" y="211175"/>
                </a:lnTo>
                <a:lnTo>
                  <a:pt x="223215" y="191427"/>
                </a:lnTo>
                <a:lnTo>
                  <a:pt x="299643" y="6680"/>
                </a:lnTo>
                <a:close/>
              </a:path>
              <a:path w="457834" h="240665">
                <a:moveTo>
                  <a:pt x="457428" y="50444"/>
                </a:moveTo>
                <a:lnTo>
                  <a:pt x="454101" y="30988"/>
                </a:lnTo>
                <a:lnTo>
                  <a:pt x="444512" y="16027"/>
                </a:lnTo>
                <a:lnTo>
                  <a:pt x="429310" y="6426"/>
                </a:lnTo>
                <a:lnTo>
                  <a:pt x="409117" y="3035"/>
                </a:lnTo>
                <a:lnTo>
                  <a:pt x="394779" y="4241"/>
                </a:lnTo>
                <a:lnTo>
                  <a:pt x="381127" y="7670"/>
                </a:lnTo>
                <a:lnTo>
                  <a:pt x="368173" y="13042"/>
                </a:lnTo>
                <a:lnTo>
                  <a:pt x="355904" y="20053"/>
                </a:lnTo>
                <a:lnTo>
                  <a:pt x="355904" y="6680"/>
                </a:lnTo>
                <a:lnTo>
                  <a:pt x="310045" y="6680"/>
                </a:lnTo>
                <a:lnTo>
                  <a:pt x="310045" y="159219"/>
                </a:lnTo>
                <a:lnTo>
                  <a:pt x="357746" y="159219"/>
                </a:lnTo>
                <a:lnTo>
                  <a:pt x="357746" y="51663"/>
                </a:lnTo>
                <a:lnTo>
                  <a:pt x="364134" y="46583"/>
                </a:lnTo>
                <a:lnTo>
                  <a:pt x="370814" y="42545"/>
                </a:lnTo>
                <a:lnTo>
                  <a:pt x="378294" y="39865"/>
                </a:lnTo>
                <a:lnTo>
                  <a:pt x="387096" y="38900"/>
                </a:lnTo>
                <a:lnTo>
                  <a:pt x="397243" y="40360"/>
                </a:lnTo>
                <a:lnTo>
                  <a:pt x="404075" y="44665"/>
                </a:lnTo>
                <a:lnTo>
                  <a:pt x="407911" y="51714"/>
                </a:lnTo>
                <a:lnTo>
                  <a:pt x="409117" y="61379"/>
                </a:lnTo>
                <a:lnTo>
                  <a:pt x="409117" y="159219"/>
                </a:lnTo>
                <a:lnTo>
                  <a:pt x="457428" y="159219"/>
                </a:lnTo>
                <a:lnTo>
                  <a:pt x="457428" y="50444"/>
                </a:lnTo>
                <a:close/>
              </a:path>
            </a:pathLst>
          </a:custGeom>
          <a:solidFill>
            <a:srgbClr val="FDFDF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bg object 20"/>
          <p:cNvSpPr/>
          <p:nvPr/>
        </p:nvSpPr>
        <p:spPr>
          <a:xfrm>
            <a:off x="11634474" y="6406729"/>
            <a:ext cx="137160" cy="159385"/>
          </a:xfrm>
          <a:custGeom>
            <a:avLst/>
            <a:gdLst/>
            <a:ahLst/>
            <a:cxnLst/>
            <a:rect l="l" t="t" r="r" b="b"/>
            <a:pathLst>
              <a:path w="137159" h="159384">
                <a:moveTo>
                  <a:pt x="133845" y="32816"/>
                </a:moveTo>
                <a:lnTo>
                  <a:pt x="63604" y="32816"/>
                </a:lnTo>
                <a:lnTo>
                  <a:pt x="77099" y="34345"/>
                </a:lnTo>
                <a:lnTo>
                  <a:pt x="85311" y="38665"/>
                </a:lnTo>
                <a:lnTo>
                  <a:pt x="89394" y="45378"/>
                </a:lnTo>
                <a:lnTo>
                  <a:pt x="90499" y="54085"/>
                </a:lnTo>
                <a:lnTo>
                  <a:pt x="90499" y="58340"/>
                </a:lnTo>
                <a:lnTo>
                  <a:pt x="59850" y="60362"/>
                </a:lnTo>
                <a:lnTo>
                  <a:pt x="30575" y="68595"/>
                </a:lnTo>
                <a:lnTo>
                  <a:pt x="8637" y="86285"/>
                </a:lnTo>
                <a:lnTo>
                  <a:pt x="0" y="116680"/>
                </a:lnTo>
                <a:lnTo>
                  <a:pt x="3593" y="135633"/>
                </a:lnTo>
                <a:lnTo>
                  <a:pt x="13608" y="148889"/>
                </a:lnTo>
                <a:lnTo>
                  <a:pt x="28898" y="156675"/>
                </a:lnTo>
                <a:lnTo>
                  <a:pt x="48315" y="159220"/>
                </a:lnTo>
                <a:lnTo>
                  <a:pt x="60789" y="158299"/>
                </a:lnTo>
                <a:lnTo>
                  <a:pt x="72400" y="155498"/>
                </a:lnTo>
                <a:lnTo>
                  <a:pt x="82975" y="150760"/>
                </a:lnTo>
                <a:lnTo>
                  <a:pt x="92341" y="144027"/>
                </a:lnTo>
                <a:lnTo>
                  <a:pt x="136998" y="144027"/>
                </a:lnTo>
                <a:lnTo>
                  <a:pt x="136998" y="127010"/>
                </a:lnTo>
                <a:lnTo>
                  <a:pt x="67263" y="127010"/>
                </a:lnTo>
                <a:lnTo>
                  <a:pt x="60694" y="126232"/>
                </a:lnTo>
                <a:lnTo>
                  <a:pt x="54581" y="123516"/>
                </a:lnTo>
                <a:lnTo>
                  <a:pt x="50073" y="118294"/>
                </a:lnTo>
                <a:lnTo>
                  <a:pt x="48315" y="109996"/>
                </a:lnTo>
                <a:lnTo>
                  <a:pt x="51812" y="97680"/>
                </a:lnTo>
                <a:lnTo>
                  <a:pt x="61157" y="90777"/>
                </a:lnTo>
                <a:lnTo>
                  <a:pt x="74627" y="87861"/>
                </a:lnTo>
                <a:lnTo>
                  <a:pt x="90499" y="87509"/>
                </a:lnTo>
                <a:lnTo>
                  <a:pt x="136998" y="87509"/>
                </a:lnTo>
                <a:lnTo>
                  <a:pt x="136998" y="48008"/>
                </a:lnTo>
                <a:lnTo>
                  <a:pt x="133845" y="32816"/>
                </a:lnTo>
                <a:close/>
              </a:path>
              <a:path w="137159" h="159384">
                <a:moveTo>
                  <a:pt x="136998" y="144027"/>
                </a:moveTo>
                <a:lnTo>
                  <a:pt x="92341" y="144027"/>
                </a:lnTo>
                <a:lnTo>
                  <a:pt x="92341" y="156182"/>
                </a:lnTo>
                <a:lnTo>
                  <a:pt x="136998" y="156182"/>
                </a:lnTo>
                <a:lnTo>
                  <a:pt x="136998" y="144027"/>
                </a:lnTo>
                <a:close/>
              </a:path>
              <a:path w="137159" h="159384">
                <a:moveTo>
                  <a:pt x="136998" y="87509"/>
                </a:moveTo>
                <a:lnTo>
                  <a:pt x="90499" y="87509"/>
                </a:lnTo>
                <a:lnTo>
                  <a:pt x="90499" y="115464"/>
                </a:lnTo>
                <a:lnTo>
                  <a:pt x="85925" y="120088"/>
                </a:lnTo>
                <a:lnTo>
                  <a:pt x="80489" y="123744"/>
                </a:lnTo>
                <a:lnTo>
                  <a:pt x="74027" y="126232"/>
                </a:lnTo>
                <a:lnTo>
                  <a:pt x="73558" y="126232"/>
                </a:lnTo>
                <a:lnTo>
                  <a:pt x="67263" y="127010"/>
                </a:lnTo>
                <a:lnTo>
                  <a:pt x="136998" y="127010"/>
                </a:lnTo>
                <a:lnTo>
                  <a:pt x="136998" y="87509"/>
                </a:lnTo>
                <a:close/>
              </a:path>
              <a:path w="137159" h="159384">
                <a:moveTo>
                  <a:pt x="76446" y="0"/>
                </a:moveTo>
                <a:lnTo>
                  <a:pt x="58429" y="1405"/>
                </a:lnTo>
                <a:lnTo>
                  <a:pt x="40522" y="5317"/>
                </a:lnTo>
                <a:lnTo>
                  <a:pt x="23301" y="11280"/>
                </a:lnTo>
                <a:lnTo>
                  <a:pt x="7341" y="18839"/>
                </a:lnTo>
                <a:lnTo>
                  <a:pt x="18972" y="46794"/>
                </a:lnTo>
                <a:lnTo>
                  <a:pt x="28692" y="41789"/>
                </a:lnTo>
                <a:lnTo>
                  <a:pt x="39907" y="37298"/>
                </a:lnTo>
                <a:lnTo>
                  <a:pt x="51812" y="34060"/>
                </a:lnTo>
                <a:lnTo>
                  <a:pt x="63604" y="32816"/>
                </a:lnTo>
                <a:lnTo>
                  <a:pt x="133845" y="32816"/>
                </a:lnTo>
                <a:lnTo>
                  <a:pt x="132781" y="27688"/>
                </a:lnTo>
                <a:lnTo>
                  <a:pt x="120706" y="12609"/>
                </a:lnTo>
                <a:lnTo>
                  <a:pt x="101639" y="3228"/>
                </a:lnTo>
                <a:lnTo>
                  <a:pt x="76446" y="0"/>
                </a:lnTo>
                <a:close/>
              </a:path>
            </a:pathLst>
          </a:custGeom>
          <a:solidFill>
            <a:srgbClr val="FDFDF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bg object 21"/>
          <p:cNvSpPr/>
          <p:nvPr/>
        </p:nvSpPr>
        <p:spPr>
          <a:xfrm>
            <a:off x="11010710" y="6406134"/>
            <a:ext cx="317500" cy="241300"/>
          </a:xfrm>
          <a:custGeom>
            <a:avLst/>
            <a:gdLst/>
            <a:ahLst/>
            <a:cxnLst/>
            <a:rect l="l" t="t" r="r" b="b"/>
            <a:pathLst>
              <a:path w="317500" h="241300">
                <a:moveTo>
                  <a:pt x="165100" y="175628"/>
                </a:moveTo>
                <a:lnTo>
                  <a:pt x="150050" y="137871"/>
                </a:lnTo>
                <a:lnTo>
                  <a:pt x="116814" y="126263"/>
                </a:lnTo>
                <a:lnTo>
                  <a:pt x="116814" y="181698"/>
                </a:lnTo>
                <a:lnTo>
                  <a:pt x="115570" y="186563"/>
                </a:lnTo>
                <a:lnTo>
                  <a:pt x="113792" y="193243"/>
                </a:lnTo>
                <a:lnTo>
                  <a:pt x="105791" y="201752"/>
                </a:lnTo>
                <a:lnTo>
                  <a:pt x="93573" y="207162"/>
                </a:lnTo>
                <a:lnTo>
                  <a:pt x="78257" y="209042"/>
                </a:lnTo>
                <a:lnTo>
                  <a:pt x="63030" y="207492"/>
                </a:lnTo>
                <a:lnTo>
                  <a:pt x="50368" y="203047"/>
                </a:lnTo>
                <a:lnTo>
                  <a:pt x="41719" y="195973"/>
                </a:lnTo>
                <a:lnTo>
                  <a:pt x="38519" y="186563"/>
                </a:lnTo>
                <a:lnTo>
                  <a:pt x="40157" y="179298"/>
                </a:lnTo>
                <a:lnTo>
                  <a:pt x="44259" y="173113"/>
                </a:lnTo>
                <a:lnTo>
                  <a:pt x="49618" y="168186"/>
                </a:lnTo>
                <a:lnTo>
                  <a:pt x="55029" y="164680"/>
                </a:lnTo>
                <a:lnTo>
                  <a:pt x="96634" y="164680"/>
                </a:lnTo>
                <a:lnTo>
                  <a:pt x="116814" y="181698"/>
                </a:lnTo>
                <a:lnTo>
                  <a:pt x="116814" y="126263"/>
                </a:lnTo>
                <a:lnTo>
                  <a:pt x="108839" y="125183"/>
                </a:lnTo>
                <a:lnTo>
                  <a:pt x="70319" y="125183"/>
                </a:lnTo>
                <a:lnTo>
                  <a:pt x="63855" y="124714"/>
                </a:lnTo>
                <a:lnTo>
                  <a:pt x="56184" y="122821"/>
                </a:lnTo>
                <a:lnTo>
                  <a:pt x="49758" y="118770"/>
                </a:lnTo>
                <a:lnTo>
                  <a:pt x="47078" y="111810"/>
                </a:lnTo>
                <a:lnTo>
                  <a:pt x="47078" y="105740"/>
                </a:lnTo>
                <a:lnTo>
                  <a:pt x="55029" y="100876"/>
                </a:lnTo>
                <a:lnTo>
                  <a:pt x="58712" y="98437"/>
                </a:lnTo>
                <a:lnTo>
                  <a:pt x="70942" y="100876"/>
                </a:lnTo>
                <a:lnTo>
                  <a:pt x="77660" y="100876"/>
                </a:lnTo>
                <a:lnTo>
                  <a:pt x="101193" y="98437"/>
                </a:lnTo>
                <a:lnTo>
                  <a:pt x="104609" y="98094"/>
                </a:lnTo>
                <a:lnTo>
                  <a:pt x="128117" y="89103"/>
                </a:lnTo>
                <a:lnTo>
                  <a:pt x="143497" y="74129"/>
                </a:lnTo>
                <a:lnTo>
                  <a:pt x="144741" y="72923"/>
                </a:lnTo>
                <a:lnTo>
                  <a:pt x="151053" y="48615"/>
                </a:lnTo>
                <a:lnTo>
                  <a:pt x="146100" y="27343"/>
                </a:lnTo>
                <a:lnTo>
                  <a:pt x="145338" y="24091"/>
                </a:lnTo>
                <a:lnTo>
                  <a:pt x="130175" y="9258"/>
                </a:lnTo>
                <a:lnTo>
                  <a:pt x="108470" y="1955"/>
                </a:lnTo>
                <a:lnTo>
                  <a:pt x="104571" y="1663"/>
                </a:lnTo>
                <a:lnTo>
                  <a:pt x="104571" y="50431"/>
                </a:lnTo>
                <a:lnTo>
                  <a:pt x="103085" y="59524"/>
                </a:lnTo>
                <a:lnTo>
                  <a:pt x="98615" y="67068"/>
                </a:lnTo>
                <a:lnTo>
                  <a:pt x="91160" y="72224"/>
                </a:lnTo>
                <a:lnTo>
                  <a:pt x="80708" y="74129"/>
                </a:lnTo>
                <a:lnTo>
                  <a:pt x="70993" y="72224"/>
                </a:lnTo>
                <a:lnTo>
                  <a:pt x="63906" y="67068"/>
                </a:lnTo>
                <a:lnTo>
                  <a:pt x="59575" y="59524"/>
                </a:lnTo>
                <a:lnTo>
                  <a:pt x="58102" y="50431"/>
                </a:lnTo>
                <a:lnTo>
                  <a:pt x="59753" y="42214"/>
                </a:lnTo>
                <a:lnTo>
                  <a:pt x="64439" y="34785"/>
                </a:lnTo>
                <a:lnTo>
                  <a:pt x="71767" y="29413"/>
                </a:lnTo>
                <a:lnTo>
                  <a:pt x="81343" y="27343"/>
                </a:lnTo>
                <a:lnTo>
                  <a:pt x="91681" y="29159"/>
                </a:lnTo>
                <a:lnTo>
                  <a:pt x="98920" y="34099"/>
                </a:lnTo>
                <a:lnTo>
                  <a:pt x="103174" y="41440"/>
                </a:lnTo>
                <a:lnTo>
                  <a:pt x="104482" y="49822"/>
                </a:lnTo>
                <a:lnTo>
                  <a:pt x="104571" y="50431"/>
                </a:lnTo>
                <a:lnTo>
                  <a:pt x="104571" y="1663"/>
                </a:lnTo>
                <a:lnTo>
                  <a:pt x="54952" y="3162"/>
                </a:lnTo>
                <a:lnTo>
                  <a:pt x="17106" y="28194"/>
                </a:lnTo>
                <a:lnTo>
                  <a:pt x="11607" y="49822"/>
                </a:lnTo>
                <a:lnTo>
                  <a:pt x="13563" y="65443"/>
                </a:lnTo>
                <a:lnTo>
                  <a:pt x="18567" y="75882"/>
                </a:lnTo>
                <a:lnTo>
                  <a:pt x="25298" y="82562"/>
                </a:lnTo>
                <a:lnTo>
                  <a:pt x="32423" y="86893"/>
                </a:lnTo>
                <a:lnTo>
                  <a:pt x="21120" y="94488"/>
                </a:lnTo>
                <a:lnTo>
                  <a:pt x="11760" y="103454"/>
                </a:lnTo>
                <a:lnTo>
                  <a:pt x="5397" y="113563"/>
                </a:lnTo>
                <a:lnTo>
                  <a:pt x="3048" y="124574"/>
                </a:lnTo>
                <a:lnTo>
                  <a:pt x="3048" y="136118"/>
                </a:lnTo>
                <a:lnTo>
                  <a:pt x="6731" y="143408"/>
                </a:lnTo>
                <a:lnTo>
                  <a:pt x="10998" y="148272"/>
                </a:lnTo>
                <a:lnTo>
                  <a:pt x="14681" y="152527"/>
                </a:lnTo>
                <a:lnTo>
                  <a:pt x="19570" y="154965"/>
                </a:lnTo>
                <a:lnTo>
                  <a:pt x="24472" y="158000"/>
                </a:lnTo>
                <a:lnTo>
                  <a:pt x="16776" y="163588"/>
                </a:lnTo>
                <a:lnTo>
                  <a:pt x="8788" y="171297"/>
                </a:lnTo>
                <a:lnTo>
                  <a:pt x="2527" y="181152"/>
                </a:lnTo>
                <a:lnTo>
                  <a:pt x="0" y="193243"/>
                </a:lnTo>
                <a:lnTo>
                  <a:pt x="6426" y="216382"/>
                </a:lnTo>
                <a:lnTo>
                  <a:pt x="23469" y="231152"/>
                </a:lnTo>
                <a:lnTo>
                  <a:pt x="47739" y="238963"/>
                </a:lnTo>
                <a:lnTo>
                  <a:pt x="75844" y="241249"/>
                </a:lnTo>
                <a:lnTo>
                  <a:pt x="108610" y="236982"/>
                </a:lnTo>
                <a:lnTo>
                  <a:pt x="137210" y="224840"/>
                </a:lnTo>
                <a:lnTo>
                  <a:pt x="152920" y="209042"/>
                </a:lnTo>
                <a:lnTo>
                  <a:pt x="157429" y="204508"/>
                </a:lnTo>
                <a:lnTo>
                  <a:pt x="165100" y="175628"/>
                </a:lnTo>
                <a:close/>
              </a:path>
              <a:path w="317500" h="241300">
                <a:moveTo>
                  <a:pt x="317385" y="74739"/>
                </a:moveTo>
                <a:lnTo>
                  <a:pt x="307378" y="32804"/>
                </a:lnTo>
                <a:lnTo>
                  <a:pt x="279336" y="6134"/>
                </a:lnTo>
                <a:lnTo>
                  <a:pt x="279781" y="6134"/>
                </a:lnTo>
                <a:lnTo>
                  <a:pt x="268465" y="4292"/>
                </a:lnTo>
                <a:lnTo>
                  <a:pt x="268465" y="60159"/>
                </a:lnTo>
                <a:lnTo>
                  <a:pt x="215861" y="60159"/>
                </a:lnTo>
                <a:lnTo>
                  <a:pt x="219062" y="49212"/>
                </a:lnTo>
                <a:lnTo>
                  <a:pt x="224891" y="40563"/>
                </a:lnTo>
                <a:lnTo>
                  <a:pt x="233235" y="34861"/>
                </a:lnTo>
                <a:lnTo>
                  <a:pt x="243992" y="32804"/>
                </a:lnTo>
                <a:lnTo>
                  <a:pt x="254876" y="34683"/>
                </a:lnTo>
                <a:lnTo>
                  <a:pt x="262661" y="40106"/>
                </a:lnTo>
                <a:lnTo>
                  <a:pt x="267220" y="48704"/>
                </a:lnTo>
                <a:lnTo>
                  <a:pt x="268465" y="60159"/>
                </a:lnTo>
                <a:lnTo>
                  <a:pt x="268465" y="4292"/>
                </a:lnTo>
                <a:lnTo>
                  <a:pt x="215328" y="6134"/>
                </a:lnTo>
                <a:lnTo>
                  <a:pt x="171272" y="47256"/>
                </a:lnTo>
                <a:lnTo>
                  <a:pt x="164503" y="80822"/>
                </a:lnTo>
                <a:lnTo>
                  <a:pt x="169926" y="113677"/>
                </a:lnTo>
                <a:lnTo>
                  <a:pt x="185445" y="138557"/>
                </a:lnTo>
                <a:lnTo>
                  <a:pt x="209905" y="154317"/>
                </a:lnTo>
                <a:lnTo>
                  <a:pt x="242150" y="159816"/>
                </a:lnTo>
                <a:lnTo>
                  <a:pt x="260870" y="158686"/>
                </a:lnTo>
                <a:lnTo>
                  <a:pt x="278549" y="155346"/>
                </a:lnTo>
                <a:lnTo>
                  <a:pt x="295300" y="149821"/>
                </a:lnTo>
                <a:lnTo>
                  <a:pt x="311264" y="142201"/>
                </a:lnTo>
                <a:lnTo>
                  <a:pt x="303720" y="125793"/>
                </a:lnTo>
                <a:lnTo>
                  <a:pt x="298424" y="114249"/>
                </a:lnTo>
                <a:lnTo>
                  <a:pt x="291274" y="118097"/>
                </a:lnTo>
                <a:lnTo>
                  <a:pt x="281609" y="121843"/>
                </a:lnTo>
                <a:lnTo>
                  <a:pt x="270560" y="124663"/>
                </a:lnTo>
                <a:lnTo>
                  <a:pt x="259283" y="125793"/>
                </a:lnTo>
                <a:lnTo>
                  <a:pt x="238810" y="123355"/>
                </a:lnTo>
                <a:lnTo>
                  <a:pt x="225348" y="116370"/>
                </a:lnTo>
                <a:lnTo>
                  <a:pt x="217830" y="105283"/>
                </a:lnTo>
                <a:lnTo>
                  <a:pt x="215265" y="90538"/>
                </a:lnTo>
                <a:lnTo>
                  <a:pt x="317385" y="90538"/>
                </a:lnTo>
                <a:lnTo>
                  <a:pt x="317385" y="74739"/>
                </a:lnTo>
                <a:close/>
              </a:path>
            </a:pathLst>
          </a:custGeom>
          <a:solidFill>
            <a:srgbClr val="FDFDFD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2" name="bg object 22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381000" y="305193"/>
            <a:ext cx="1330452" cy="574535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70433" y="940022"/>
            <a:ext cx="10224770" cy="11214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 b="1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9600" y="1577340"/>
            <a:ext cx="1097280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898347" y="6438620"/>
            <a:ext cx="1671955" cy="1524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1045"/>
              </a:lnSpc>
            </a:pPr>
            <a:r>
              <a:rPr spc="-10" dirty="0"/>
              <a:t>КЛАССИФИКАЦИЯ:</a:t>
            </a:r>
            <a:r>
              <a:rPr spc="75" dirty="0"/>
              <a:t> </a:t>
            </a:r>
            <a:r>
              <a:rPr spc="-10" dirty="0"/>
              <a:t>ПУБЛИЧНО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3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342900" y="6430086"/>
            <a:ext cx="217170" cy="1524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 marL="38100">
              <a:lnSpc>
                <a:spcPts val="1045"/>
              </a:lnSpc>
            </a:pPr>
            <a:fld id="{81D60167-4931-47E6-BA6A-407CBD079E47}" type="slidenum">
              <a:rPr spc="-50" dirty="0"/>
              <a:t>‹#›</a:t>
            </a:fld>
            <a:endParaRPr spc="-50" dirty="0"/>
          </a:p>
        </p:txBody>
      </p:sp>
    </p:spTree>
    <p:extLst>
      <p:ext uri="{BB962C8B-B14F-4D97-AF65-F5344CB8AC3E}">
        <p14:creationId xmlns:p14="http://schemas.microsoft.com/office/powerpoint/2010/main" val="25360693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C53A98-456D-5645-AC8C-7316967B85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59599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4" imgW="347" imgH="348" progId="TCLayout.ActiveDocument.1">
                  <p:embed/>
                </p:oleObj>
              </mc:Choice>
              <mc:Fallback>
                <p:oleObj name="Слайд think-cell" r:id="rId24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7C53A98-456D-5645-AC8C-7316967B85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1B9404D-C690-49B1-A383-63A32B9113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28601"/>
            <a:ext cx="11582400" cy="7772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251720-3CE2-4216-B8AE-F11B1138E5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4799" y="1592262"/>
            <a:ext cx="11582399" cy="46561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0762D4-5D39-4E50-B84C-130BB98755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4798" y="6435990"/>
            <a:ext cx="2350008" cy="311036"/>
          </a:xfrm>
          <a:custGeom>
            <a:avLst/>
            <a:gdLst>
              <a:gd name="connsiteX0" fmla="*/ 0 w 2350008"/>
              <a:gd name="connsiteY0" fmla="*/ 0 h 311036"/>
              <a:gd name="connsiteX1" fmla="*/ 2350008 w 2350008"/>
              <a:gd name="connsiteY1" fmla="*/ 0 h 311036"/>
              <a:gd name="connsiteX2" fmla="*/ 2350008 w 2350008"/>
              <a:gd name="connsiteY2" fmla="*/ 311036 h 311036"/>
              <a:gd name="connsiteX3" fmla="*/ 0 w 2350008"/>
              <a:gd name="connsiteY3" fmla="*/ 311036 h 311036"/>
              <a:gd name="connsiteX4" fmla="*/ 0 w 2350008"/>
              <a:gd name="connsiteY4" fmla="*/ 0 h 311036"/>
              <a:gd name="connsiteX0" fmla="*/ 0 w 2350008"/>
              <a:gd name="connsiteY0" fmla="*/ 0 h 311036"/>
              <a:gd name="connsiteX1" fmla="*/ 2350008 w 2350008"/>
              <a:gd name="connsiteY1" fmla="*/ 0 h 311036"/>
              <a:gd name="connsiteX2" fmla="*/ 0 w 2350008"/>
              <a:gd name="connsiteY2" fmla="*/ 311036 h 311036"/>
              <a:gd name="connsiteX3" fmla="*/ 0 w 2350008"/>
              <a:gd name="connsiteY3" fmla="*/ 0 h 311036"/>
              <a:gd name="connsiteX0" fmla="*/ 0 w 2350008"/>
              <a:gd name="connsiteY0" fmla="*/ 0 h 0"/>
              <a:gd name="connsiteX1" fmla="*/ 2350008 w 2350008"/>
              <a:gd name="connsiteY1" fmla="*/ 0 h 0"/>
              <a:gd name="connsiteX2" fmla="*/ 0 w 2350008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50008">
                <a:moveTo>
                  <a:pt x="0" y="0"/>
                </a:moveTo>
                <a:lnTo>
                  <a:pt x="2350008" y="0"/>
                </a:lnTo>
                <a:lnTo>
                  <a:pt x="0" y="0"/>
                </a:lnTo>
                <a:close/>
              </a:path>
            </a:pathLst>
          </a:custGeom>
          <a:ln w="6350">
            <a:solidFill>
              <a:schemeClr val="tx1"/>
            </a:solidFill>
          </a:ln>
        </p:spPr>
        <p:txBody>
          <a:bodyPr vert="horz" lIns="0" tIns="128016" rIns="0" bIns="0" rtlCol="0" anchor="t" anchorCtr="0">
            <a:no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pPr algn="r"/>
            <a:r>
              <a:rPr lang="en-GB"/>
              <a:t>Classification: INTERNAL USE ONLY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9BA6B3-09C1-4225-B463-2A8C4527BF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7695D00A-BA34-4D39-8C84-2534822D6434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0E0C843C-FFCF-5CF3-95C4-ABD8C1B9C1D8}"/>
              </a:ext>
            </a:extLst>
          </p:cNvPr>
          <p:cNvPicPr>
            <a:picLocks noChangeAspect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10855960" y="6399515"/>
            <a:ext cx="1031238" cy="307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58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  <p:sldLayoutId id="2147483714" r:id="rId14"/>
    <p:sldLayoutId id="2147483715" r:id="rId15"/>
    <p:sldLayoutId id="2147483716" r:id="rId16"/>
    <p:sldLayoutId id="2147483717" r:id="rId17"/>
    <p:sldLayoutId id="2147483718" r:id="rId18"/>
    <p:sldLayoutId id="2147483719" r:id="rId19"/>
    <p:sldLayoutId id="2147483720" r:id="rId20"/>
    <p:sldLayoutId id="2147483721" r:id="rId2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2608" indent="-292608" algn="l" defTabSz="914400" rtl="0" eaLnBrk="1" latinLnBrk="0" hangingPunct="1">
        <a:lnSpc>
          <a:spcPct val="100000"/>
        </a:lnSpc>
        <a:spcBef>
          <a:spcPts val="600"/>
        </a:spcBef>
        <a:buSzPct val="80000"/>
        <a:buFont typeface="Arial" panose="020B0604020202020204" pitchFamily="34" charset="0"/>
        <a:buChar char="●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76072" indent="-292608" algn="l" defTabSz="914400" rtl="0" eaLnBrk="1" latinLnBrk="0" hangingPunct="1">
        <a:lnSpc>
          <a:spcPct val="100000"/>
        </a:lnSpc>
        <a:spcBef>
          <a:spcPts val="600"/>
        </a:spcBef>
        <a:buFont typeface="Courier New" panose="02070309020205020404" pitchFamily="49" charset="0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68680" indent="-292608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52144" indent="-292608" algn="l" defTabSz="914400" rtl="0" eaLnBrk="1" latinLnBrk="0" hangingPunct="1">
        <a:lnSpc>
          <a:spcPct val="100000"/>
        </a:lnSpc>
        <a:spcBef>
          <a:spcPts val="600"/>
        </a:spcBef>
        <a:buFont typeface="Courier New" panose="02070309020205020404" pitchFamily="49" charset="0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444752" indent="-292608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>
          <p15:clr>
            <a:srgbClr val="F26B43"/>
          </p15:clr>
        </p15:guide>
        <p15:guide id="2" pos="7680">
          <p15:clr>
            <a:srgbClr val="F26B43"/>
          </p15:clr>
        </p15:guide>
        <p15:guide id="3" pos="192">
          <p15:clr>
            <a:srgbClr val="F26B43"/>
          </p15:clr>
        </p15:guide>
        <p15:guide id="4" pos="7488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320">
          <p15:clr>
            <a:srgbClr val="F26B43"/>
          </p15:clr>
        </p15:guide>
        <p15:guide id="7" orient="horz" pos="144">
          <p15:clr>
            <a:srgbClr val="F26B43"/>
          </p15:clr>
        </p15:guide>
        <p15:guide id="8" orient="horz" pos="3936">
          <p15:clr>
            <a:srgbClr val="F26B43"/>
          </p15:clr>
        </p15:guide>
        <p15:guide id="9" orient="horz" pos="1003">
          <p15:clr>
            <a:srgbClr val="5ACBF0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10288DA-986F-4143-C299-80247FFD75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295860975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6" imgW="347" imgH="348" progId="TCLayout.ActiveDocument.1">
                  <p:embed/>
                </p:oleObj>
              </mc:Choice>
              <mc:Fallback>
                <p:oleObj name="Слайд think-cell" r:id="rId16" imgW="347" imgH="34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0288DA-986F-4143-C299-80247FFD75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2"/>
          <p:cNvGrpSpPr/>
          <p:nvPr userDrawn="1"/>
        </p:nvGrpSpPr>
        <p:grpSpPr>
          <a:xfrm>
            <a:off x="11190053" y="6191624"/>
            <a:ext cx="1001947" cy="666377"/>
            <a:chOff x="7807324" y="4245466"/>
            <a:chExt cx="1336676" cy="889000"/>
          </a:xfrm>
        </p:grpSpPr>
        <p:sp>
          <p:nvSpPr>
            <p:cNvPr id="24" name="Freeform 23"/>
            <p:cNvSpPr>
              <a:spLocks/>
            </p:cNvSpPr>
            <p:nvPr userDrawn="1"/>
          </p:nvSpPr>
          <p:spPr bwMode="gray">
            <a:xfrm>
              <a:off x="7807324" y="4245466"/>
              <a:ext cx="1336676" cy="889000"/>
            </a:xfrm>
            <a:custGeom>
              <a:avLst/>
              <a:gdLst>
                <a:gd name="T0" fmla="*/ 0 w 4568"/>
                <a:gd name="T1" fmla="*/ 0 h 2670"/>
                <a:gd name="T2" fmla="*/ 0 w 4568"/>
                <a:gd name="T3" fmla="*/ 2670 h 2670"/>
                <a:gd name="T4" fmla="*/ 4568 w 4568"/>
                <a:gd name="T5" fmla="*/ 2670 h 2670"/>
                <a:gd name="T6" fmla="*/ 4568 w 4568"/>
                <a:gd name="T7" fmla="*/ 0 h 2670"/>
                <a:gd name="T8" fmla="*/ 0 w 4568"/>
                <a:gd name="T9" fmla="*/ 0 h 2670"/>
                <a:gd name="T10" fmla="*/ 0 w 4568"/>
                <a:gd name="T11" fmla="*/ 0 h 2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68" h="2670">
                  <a:moveTo>
                    <a:pt x="0" y="0"/>
                  </a:moveTo>
                  <a:lnTo>
                    <a:pt x="0" y="2670"/>
                  </a:lnTo>
                  <a:lnTo>
                    <a:pt x="4568" y="2670"/>
                  </a:lnTo>
                  <a:lnTo>
                    <a:pt x="4568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F5A2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25" name="Group 24"/>
            <p:cNvGrpSpPr/>
            <p:nvPr userDrawn="1"/>
          </p:nvGrpSpPr>
          <p:grpSpPr bwMode="gray">
            <a:xfrm>
              <a:off x="8005143" y="4607724"/>
              <a:ext cx="938111" cy="264245"/>
              <a:chOff x="2024063" y="2676525"/>
              <a:chExt cx="5111750" cy="1439863"/>
            </a:xfrm>
          </p:grpSpPr>
          <p:sp>
            <p:nvSpPr>
              <p:cNvPr id="26" name="Line 50"/>
              <p:cNvSpPr>
                <a:spLocks noChangeShapeType="1"/>
              </p:cNvSpPr>
              <p:nvPr/>
            </p:nvSpPr>
            <p:spPr bwMode="gray">
              <a:xfrm>
                <a:off x="2203450" y="3767138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0" lang="en-US" sz="2400">
                  <a:solidFill>
                    <a:srgbClr val="6D6E71"/>
                  </a:solidFill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7" name="Line 51"/>
              <p:cNvSpPr>
                <a:spLocks noChangeShapeType="1"/>
              </p:cNvSpPr>
              <p:nvPr/>
            </p:nvSpPr>
            <p:spPr bwMode="gray">
              <a:xfrm>
                <a:off x="2203450" y="3767138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0" lang="en-US" sz="2400">
                  <a:solidFill>
                    <a:srgbClr val="6D6E71"/>
                  </a:solidFill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8" name="Freeform 52"/>
              <p:cNvSpPr>
                <a:spLocks/>
              </p:cNvSpPr>
              <p:nvPr/>
            </p:nvSpPr>
            <p:spPr bwMode="gray">
              <a:xfrm>
                <a:off x="5810250" y="3003550"/>
                <a:ext cx="442913" cy="793750"/>
              </a:xfrm>
              <a:custGeom>
                <a:avLst/>
                <a:gdLst>
                  <a:gd name="T0" fmla="*/ 118 w 118"/>
                  <a:gd name="T1" fmla="*/ 80 h 211"/>
                  <a:gd name="T2" fmla="*/ 74 w 118"/>
                  <a:gd name="T3" fmla="*/ 80 h 211"/>
                  <a:gd name="T4" fmla="*/ 74 w 118"/>
                  <a:gd name="T5" fmla="*/ 152 h 211"/>
                  <a:gd name="T6" fmla="*/ 99 w 118"/>
                  <a:gd name="T7" fmla="*/ 176 h 211"/>
                  <a:gd name="T8" fmla="*/ 114 w 118"/>
                  <a:gd name="T9" fmla="*/ 175 h 211"/>
                  <a:gd name="T10" fmla="*/ 118 w 118"/>
                  <a:gd name="T11" fmla="*/ 207 h 211"/>
                  <a:gd name="T12" fmla="*/ 81 w 118"/>
                  <a:gd name="T13" fmla="*/ 211 h 211"/>
                  <a:gd name="T14" fmla="*/ 25 w 118"/>
                  <a:gd name="T15" fmla="*/ 164 h 211"/>
                  <a:gd name="T16" fmla="*/ 25 w 118"/>
                  <a:gd name="T17" fmla="*/ 80 h 211"/>
                  <a:gd name="T18" fmla="*/ 0 w 118"/>
                  <a:gd name="T19" fmla="*/ 80 h 211"/>
                  <a:gd name="T20" fmla="*/ 0 w 118"/>
                  <a:gd name="T21" fmla="*/ 49 h 211"/>
                  <a:gd name="T22" fmla="*/ 25 w 118"/>
                  <a:gd name="T23" fmla="*/ 49 h 211"/>
                  <a:gd name="T24" fmla="*/ 25 w 118"/>
                  <a:gd name="T25" fmla="*/ 14 h 211"/>
                  <a:gd name="T26" fmla="*/ 74 w 118"/>
                  <a:gd name="T27" fmla="*/ 0 h 211"/>
                  <a:gd name="T28" fmla="*/ 74 w 118"/>
                  <a:gd name="T29" fmla="*/ 49 h 211"/>
                  <a:gd name="T30" fmla="*/ 118 w 118"/>
                  <a:gd name="T31" fmla="*/ 49 h 211"/>
                  <a:gd name="T32" fmla="*/ 118 w 118"/>
                  <a:gd name="T33" fmla="*/ 80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8" h="211">
                    <a:moveTo>
                      <a:pt x="118" y="80"/>
                    </a:moveTo>
                    <a:cubicBezTo>
                      <a:pt x="74" y="80"/>
                      <a:pt x="74" y="80"/>
                      <a:pt x="74" y="80"/>
                    </a:cubicBezTo>
                    <a:cubicBezTo>
                      <a:pt x="74" y="152"/>
                      <a:pt x="74" y="152"/>
                      <a:pt x="74" y="152"/>
                    </a:cubicBezTo>
                    <a:cubicBezTo>
                      <a:pt x="74" y="173"/>
                      <a:pt x="85" y="176"/>
                      <a:pt x="99" y="176"/>
                    </a:cubicBezTo>
                    <a:cubicBezTo>
                      <a:pt x="104" y="176"/>
                      <a:pt x="109" y="176"/>
                      <a:pt x="114" y="175"/>
                    </a:cubicBezTo>
                    <a:cubicBezTo>
                      <a:pt x="118" y="207"/>
                      <a:pt x="118" y="207"/>
                      <a:pt x="118" y="207"/>
                    </a:cubicBezTo>
                    <a:cubicBezTo>
                      <a:pt x="106" y="209"/>
                      <a:pt x="91" y="211"/>
                      <a:pt x="81" y="211"/>
                    </a:cubicBezTo>
                    <a:cubicBezTo>
                      <a:pt x="51" y="211"/>
                      <a:pt x="25" y="201"/>
                      <a:pt x="25" y="164"/>
                    </a:cubicBezTo>
                    <a:cubicBezTo>
                      <a:pt x="25" y="80"/>
                      <a:pt x="25" y="80"/>
                      <a:pt x="25" y="80"/>
                    </a:cubicBezTo>
                    <a:cubicBezTo>
                      <a:pt x="0" y="80"/>
                      <a:pt x="0" y="80"/>
                      <a:pt x="0" y="80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25" y="49"/>
                      <a:pt x="25" y="49"/>
                      <a:pt x="25" y="49"/>
                    </a:cubicBezTo>
                    <a:cubicBezTo>
                      <a:pt x="25" y="14"/>
                      <a:pt x="25" y="14"/>
                      <a:pt x="25" y="14"/>
                    </a:cubicBezTo>
                    <a:cubicBezTo>
                      <a:pt x="74" y="0"/>
                      <a:pt x="74" y="0"/>
                      <a:pt x="74" y="0"/>
                    </a:cubicBezTo>
                    <a:cubicBezTo>
                      <a:pt x="74" y="49"/>
                      <a:pt x="74" y="49"/>
                      <a:pt x="74" y="49"/>
                    </a:cubicBezTo>
                    <a:cubicBezTo>
                      <a:pt x="118" y="49"/>
                      <a:pt x="118" y="49"/>
                      <a:pt x="118" y="49"/>
                    </a:cubicBezTo>
                    <a:lnTo>
                      <a:pt x="118" y="8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0" lang="en-US" sz="2400">
                  <a:solidFill>
                    <a:srgbClr val="6D6E71"/>
                  </a:solidFill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9" name="Freeform 53"/>
              <p:cNvSpPr>
                <a:spLocks/>
              </p:cNvSpPr>
              <p:nvPr/>
            </p:nvSpPr>
            <p:spPr bwMode="gray">
              <a:xfrm>
                <a:off x="5178425" y="3173413"/>
                <a:ext cx="574675" cy="612775"/>
              </a:xfrm>
              <a:custGeom>
                <a:avLst/>
                <a:gdLst>
                  <a:gd name="T0" fmla="*/ 153 w 153"/>
                  <a:gd name="T1" fmla="*/ 163 h 163"/>
                  <a:gd name="T2" fmla="*/ 103 w 153"/>
                  <a:gd name="T3" fmla="*/ 163 h 163"/>
                  <a:gd name="T4" fmla="*/ 103 w 153"/>
                  <a:gd name="T5" fmla="*/ 61 h 163"/>
                  <a:gd name="T6" fmla="*/ 80 w 153"/>
                  <a:gd name="T7" fmla="*/ 37 h 163"/>
                  <a:gd name="T8" fmla="*/ 50 w 153"/>
                  <a:gd name="T9" fmla="*/ 51 h 163"/>
                  <a:gd name="T10" fmla="*/ 50 w 153"/>
                  <a:gd name="T11" fmla="*/ 163 h 163"/>
                  <a:gd name="T12" fmla="*/ 0 w 153"/>
                  <a:gd name="T13" fmla="*/ 163 h 163"/>
                  <a:gd name="T14" fmla="*/ 0 w 153"/>
                  <a:gd name="T15" fmla="*/ 4 h 163"/>
                  <a:gd name="T16" fmla="*/ 48 w 153"/>
                  <a:gd name="T17" fmla="*/ 4 h 163"/>
                  <a:gd name="T18" fmla="*/ 48 w 153"/>
                  <a:gd name="T19" fmla="*/ 18 h 163"/>
                  <a:gd name="T20" fmla="*/ 103 w 153"/>
                  <a:gd name="T21" fmla="*/ 0 h 163"/>
                  <a:gd name="T22" fmla="*/ 153 w 153"/>
                  <a:gd name="T23" fmla="*/ 49 h 163"/>
                  <a:gd name="T24" fmla="*/ 153 w 153"/>
                  <a:gd name="T25" fmla="*/ 163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3" h="163">
                    <a:moveTo>
                      <a:pt x="153" y="163"/>
                    </a:moveTo>
                    <a:cubicBezTo>
                      <a:pt x="103" y="163"/>
                      <a:pt x="103" y="163"/>
                      <a:pt x="103" y="163"/>
                    </a:cubicBezTo>
                    <a:cubicBezTo>
                      <a:pt x="103" y="61"/>
                      <a:pt x="103" y="61"/>
                      <a:pt x="103" y="61"/>
                    </a:cubicBezTo>
                    <a:cubicBezTo>
                      <a:pt x="103" y="46"/>
                      <a:pt x="97" y="37"/>
                      <a:pt x="80" y="37"/>
                    </a:cubicBezTo>
                    <a:cubicBezTo>
                      <a:pt x="67" y="37"/>
                      <a:pt x="59" y="43"/>
                      <a:pt x="50" y="51"/>
                    </a:cubicBezTo>
                    <a:cubicBezTo>
                      <a:pt x="50" y="163"/>
                      <a:pt x="50" y="163"/>
                      <a:pt x="50" y="163"/>
                    </a:cubicBezTo>
                    <a:cubicBezTo>
                      <a:pt x="0" y="163"/>
                      <a:pt x="0" y="163"/>
                      <a:pt x="0" y="16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48" y="4"/>
                      <a:pt x="48" y="4"/>
                      <a:pt x="48" y="4"/>
                    </a:cubicBezTo>
                    <a:cubicBezTo>
                      <a:pt x="48" y="18"/>
                      <a:pt x="48" y="18"/>
                      <a:pt x="48" y="18"/>
                    </a:cubicBezTo>
                    <a:cubicBezTo>
                      <a:pt x="64" y="7"/>
                      <a:pt x="83" y="0"/>
                      <a:pt x="103" y="0"/>
                    </a:cubicBezTo>
                    <a:cubicBezTo>
                      <a:pt x="134" y="0"/>
                      <a:pt x="153" y="20"/>
                      <a:pt x="153" y="49"/>
                    </a:cubicBezTo>
                    <a:lnTo>
                      <a:pt x="153" y="16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0" lang="en-US" sz="2400">
                  <a:solidFill>
                    <a:srgbClr val="6D6E71"/>
                  </a:solidFill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0" name="Freeform 54"/>
              <p:cNvSpPr>
                <a:spLocks/>
              </p:cNvSpPr>
              <p:nvPr/>
            </p:nvSpPr>
            <p:spPr bwMode="gray">
              <a:xfrm>
                <a:off x="4314825" y="2676525"/>
                <a:ext cx="487363" cy="488950"/>
              </a:xfrm>
              <a:custGeom>
                <a:avLst/>
                <a:gdLst>
                  <a:gd name="T0" fmla="*/ 130 w 130"/>
                  <a:gd name="T1" fmla="*/ 0 h 130"/>
                  <a:gd name="T2" fmla="*/ 92 w 130"/>
                  <a:gd name="T3" fmla="*/ 106 h 130"/>
                  <a:gd name="T4" fmla="*/ 33 w 130"/>
                  <a:gd name="T5" fmla="*/ 125 h 130"/>
                  <a:gd name="T6" fmla="*/ 5 w 130"/>
                  <a:gd name="T7" fmla="*/ 130 h 130"/>
                  <a:gd name="T8" fmla="*/ 0 w 130"/>
                  <a:gd name="T9" fmla="*/ 94 h 130"/>
                  <a:gd name="T10" fmla="*/ 19 w 130"/>
                  <a:gd name="T11" fmla="*/ 42 h 130"/>
                  <a:gd name="T12" fmla="*/ 130 w 130"/>
                  <a:gd name="T13" fmla="*/ 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0" h="130">
                    <a:moveTo>
                      <a:pt x="130" y="0"/>
                    </a:moveTo>
                    <a:cubicBezTo>
                      <a:pt x="105" y="43"/>
                      <a:pt x="116" y="81"/>
                      <a:pt x="92" y="106"/>
                    </a:cubicBezTo>
                    <a:cubicBezTo>
                      <a:pt x="72" y="125"/>
                      <a:pt x="54" y="125"/>
                      <a:pt x="33" y="125"/>
                    </a:cubicBezTo>
                    <a:cubicBezTo>
                      <a:pt x="25" y="125"/>
                      <a:pt x="11" y="125"/>
                      <a:pt x="5" y="130"/>
                    </a:cubicBezTo>
                    <a:cubicBezTo>
                      <a:pt x="1" y="118"/>
                      <a:pt x="0" y="106"/>
                      <a:pt x="0" y="94"/>
                    </a:cubicBezTo>
                    <a:cubicBezTo>
                      <a:pt x="0" y="74"/>
                      <a:pt x="4" y="56"/>
                      <a:pt x="19" y="42"/>
                    </a:cubicBezTo>
                    <a:cubicBezTo>
                      <a:pt x="46" y="14"/>
                      <a:pt x="97" y="5"/>
                      <a:pt x="13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0" lang="en-US" sz="2400">
                  <a:solidFill>
                    <a:srgbClr val="6D6E71"/>
                  </a:solidFill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1" name="Freeform 55"/>
              <p:cNvSpPr>
                <a:spLocks/>
              </p:cNvSpPr>
              <p:nvPr/>
            </p:nvSpPr>
            <p:spPr bwMode="gray">
              <a:xfrm>
                <a:off x="3228975" y="3173413"/>
                <a:ext cx="571500" cy="612775"/>
              </a:xfrm>
              <a:custGeom>
                <a:avLst/>
                <a:gdLst>
                  <a:gd name="T0" fmla="*/ 152 w 152"/>
                  <a:gd name="T1" fmla="*/ 163 h 163"/>
                  <a:gd name="T2" fmla="*/ 103 w 152"/>
                  <a:gd name="T3" fmla="*/ 163 h 163"/>
                  <a:gd name="T4" fmla="*/ 103 w 152"/>
                  <a:gd name="T5" fmla="*/ 61 h 163"/>
                  <a:gd name="T6" fmla="*/ 79 w 152"/>
                  <a:gd name="T7" fmla="*/ 37 h 163"/>
                  <a:gd name="T8" fmla="*/ 49 w 152"/>
                  <a:gd name="T9" fmla="*/ 51 h 163"/>
                  <a:gd name="T10" fmla="*/ 49 w 152"/>
                  <a:gd name="T11" fmla="*/ 163 h 163"/>
                  <a:gd name="T12" fmla="*/ 0 w 152"/>
                  <a:gd name="T13" fmla="*/ 163 h 163"/>
                  <a:gd name="T14" fmla="*/ 0 w 152"/>
                  <a:gd name="T15" fmla="*/ 4 h 163"/>
                  <a:gd name="T16" fmla="*/ 48 w 152"/>
                  <a:gd name="T17" fmla="*/ 4 h 163"/>
                  <a:gd name="T18" fmla="*/ 48 w 152"/>
                  <a:gd name="T19" fmla="*/ 18 h 163"/>
                  <a:gd name="T20" fmla="*/ 102 w 152"/>
                  <a:gd name="T21" fmla="*/ 0 h 163"/>
                  <a:gd name="T22" fmla="*/ 152 w 152"/>
                  <a:gd name="T23" fmla="*/ 49 h 163"/>
                  <a:gd name="T24" fmla="*/ 152 w 152"/>
                  <a:gd name="T25" fmla="*/ 163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2" h="163">
                    <a:moveTo>
                      <a:pt x="152" y="163"/>
                    </a:moveTo>
                    <a:cubicBezTo>
                      <a:pt x="103" y="163"/>
                      <a:pt x="103" y="163"/>
                      <a:pt x="103" y="163"/>
                    </a:cubicBezTo>
                    <a:cubicBezTo>
                      <a:pt x="103" y="61"/>
                      <a:pt x="103" y="61"/>
                      <a:pt x="103" y="61"/>
                    </a:cubicBezTo>
                    <a:cubicBezTo>
                      <a:pt x="103" y="46"/>
                      <a:pt x="96" y="37"/>
                      <a:pt x="79" y="37"/>
                    </a:cubicBezTo>
                    <a:cubicBezTo>
                      <a:pt x="67" y="37"/>
                      <a:pt x="58" y="43"/>
                      <a:pt x="49" y="51"/>
                    </a:cubicBezTo>
                    <a:cubicBezTo>
                      <a:pt x="49" y="163"/>
                      <a:pt x="49" y="163"/>
                      <a:pt x="49" y="163"/>
                    </a:cubicBezTo>
                    <a:cubicBezTo>
                      <a:pt x="0" y="163"/>
                      <a:pt x="0" y="163"/>
                      <a:pt x="0" y="16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48" y="4"/>
                      <a:pt x="48" y="4"/>
                      <a:pt x="48" y="4"/>
                    </a:cubicBezTo>
                    <a:cubicBezTo>
                      <a:pt x="48" y="18"/>
                      <a:pt x="48" y="18"/>
                      <a:pt x="48" y="18"/>
                    </a:cubicBezTo>
                    <a:cubicBezTo>
                      <a:pt x="64" y="7"/>
                      <a:pt x="82" y="0"/>
                      <a:pt x="102" y="0"/>
                    </a:cubicBezTo>
                    <a:cubicBezTo>
                      <a:pt x="134" y="0"/>
                      <a:pt x="152" y="20"/>
                      <a:pt x="152" y="49"/>
                    </a:cubicBezTo>
                    <a:lnTo>
                      <a:pt x="152" y="16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0" lang="en-US" sz="2400">
                  <a:solidFill>
                    <a:srgbClr val="6D6E71"/>
                  </a:solidFill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2" name="Freeform 56"/>
              <p:cNvSpPr>
                <a:spLocks/>
              </p:cNvSpPr>
              <p:nvPr/>
            </p:nvSpPr>
            <p:spPr bwMode="gray">
              <a:xfrm>
                <a:off x="2492375" y="3187700"/>
                <a:ext cx="698500" cy="917575"/>
              </a:xfrm>
              <a:custGeom>
                <a:avLst/>
                <a:gdLst>
                  <a:gd name="T0" fmla="*/ 186 w 186"/>
                  <a:gd name="T1" fmla="*/ 0 h 244"/>
                  <a:gd name="T2" fmla="*/ 106 w 186"/>
                  <a:gd name="T3" fmla="*/ 192 h 244"/>
                  <a:gd name="T4" fmla="*/ 36 w 186"/>
                  <a:gd name="T5" fmla="*/ 244 h 244"/>
                  <a:gd name="T6" fmla="*/ 0 w 186"/>
                  <a:gd name="T7" fmla="*/ 239 h 244"/>
                  <a:gd name="T8" fmla="*/ 7 w 186"/>
                  <a:gd name="T9" fmla="*/ 207 h 244"/>
                  <a:gd name="T10" fmla="*/ 28 w 186"/>
                  <a:gd name="T11" fmla="*/ 210 h 244"/>
                  <a:gd name="T12" fmla="*/ 68 w 186"/>
                  <a:gd name="T13" fmla="*/ 170 h 244"/>
                  <a:gd name="T14" fmla="*/ 73 w 186"/>
                  <a:gd name="T15" fmla="*/ 159 h 244"/>
                  <a:gd name="T16" fmla="*/ 12 w 186"/>
                  <a:gd name="T17" fmla="*/ 0 h 244"/>
                  <a:gd name="T18" fmla="*/ 65 w 186"/>
                  <a:gd name="T19" fmla="*/ 0 h 244"/>
                  <a:gd name="T20" fmla="*/ 94 w 186"/>
                  <a:gd name="T21" fmla="*/ 78 h 244"/>
                  <a:gd name="T22" fmla="*/ 101 w 186"/>
                  <a:gd name="T23" fmla="*/ 105 h 244"/>
                  <a:gd name="T24" fmla="*/ 110 w 186"/>
                  <a:gd name="T25" fmla="*/ 77 h 244"/>
                  <a:gd name="T26" fmla="*/ 139 w 186"/>
                  <a:gd name="T27" fmla="*/ 0 h 244"/>
                  <a:gd name="T28" fmla="*/ 186 w 186"/>
                  <a:gd name="T29" fmla="*/ 0 h 2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86" h="244">
                    <a:moveTo>
                      <a:pt x="186" y="0"/>
                    </a:moveTo>
                    <a:cubicBezTo>
                      <a:pt x="106" y="192"/>
                      <a:pt x="106" y="192"/>
                      <a:pt x="106" y="192"/>
                    </a:cubicBezTo>
                    <a:cubicBezTo>
                      <a:pt x="94" y="222"/>
                      <a:pt x="70" y="244"/>
                      <a:pt x="36" y="244"/>
                    </a:cubicBezTo>
                    <a:cubicBezTo>
                      <a:pt x="20" y="244"/>
                      <a:pt x="11" y="241"/>
                      <a:pt x="0" y="239"/>
                    </a:cubicBezTo>
                    <a:cubicBezTo>
                      <a:pt x="7" y="207"/>
                      <a:pt x="7" y="207"/>
                      <a:pt x="7" y="207"/>
                    </a:cubicBezTo>
                    <a:cubicBezTo>
                      <a:pt x="16" y="209"/>
                      <a:pt x="22" y="210"/>
                      <a:pt x="28" y="210"/>
                    </a:cubicBezTo>
                    <a:cubicBezTo>
                      <a:pt x="48" y="210"/>
                      <a:pt x="59" y="193"/>
                      <a:pt x="68" y="170"/>
                    </a:cubicBezTo>
                    <a:cubicBezTo>
                      <a:pt x="73" y="159"/>
                      <a:pt x="73" y="159"/>
                      <a:pt x="73" y="159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94" y="78"/>
                      <a:pt x="94" y="78"/>
                      <a:pt x="94" y="78"/>
                    </a:cubicBezTo>
                    <a:cubicBezTo>
                      <a:pt x="97" y="88"/>
                      <a:pt x="99" y="98"/>
                      <a:pt x="101" y="105"/>
                    </a:cubicBezTo>
                    <a:cubicBezTo>
                      <a:pt x="102" y="98"/>
                      <a:pt x="106" y="86"/>
                      <a:pt x="110" y="77"/>
                    </a:cubicBezTo>
                    <a:cubicBezTo>
                      <a:pt x="139" y="0"/>
                      <a:pt x="139" y="0"/>
                      <a:pt x="139" y="0"/>
                    </a:cubicBezTo>
                    <a:lnTo>
                      <a:pt x="18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0" lang="en-US" sz="2400">
                  <a:solidFill>
                    <a:srgbClr val="6D6E71"/>
                  </a:solidFill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3" name="Freeform 57"/>
              <p:cNvSpPr>
                <a:spLocks/>
              </p:cNvSpPr>
              <p:nvPr/>
            </p:nvSpPr>
            <p:spPr bwMode="gray">
              <a:xfrm>
                <a:off x="2024063" y="3162300"/>
                <a:ext cx="509588" cy="631825"/>
              </a:xfrm>
              <a:custGeom>
                <a:avLst/>
                <a:gdLst>
                  <a:gd name="T0" fmla="*/ 136 w 136"/>
                  <a:gd name="T1" fmla="*/ 115 h 168"/>
                  <a:gd name="T2" fmla="*/ 66 w 136"/>
                  <a:gd name="T3" fmla="*/ 168 h 168"/>
                  <a:gd name="T4" fmla="*/ 0 w 136"/>
                  <a:gd name="T5" fmla="*/ 156 h 168"/>
                  <a:gd name="T6" fmla="*/ 14 w 136"/>
                  <a:gd name="T7" fmla="*/ 124 h 168"/>
                  <a:gd name="T8" fmla="*/ 59 w 136"/>
                  <a:gd name="T9" fmla="*/ 134 h 168"/>
                  <a:gd name="T10" fmla="*/ 86 w 136"/>
                  <a:gd name="T11" fmla="*/ 119 h 168"/>
                  <a:gd name="T12" fmla="*/ 75 w 136"/>
                  <a:gd name="T13" fmla="*/ 107 h 168"/>
                  <a:gd name="T14" fmla="*/ 41 w 136"/>
                  <a:gd name="T15" fmla="*/ 99 h 168"/>
                  <a:gd name="T16" fmla="*/ 4 w 136"/>
                  <a:gd name="T17" fmla="*/ 53 h 168"/>
                  <a:gd name="T18" fmla="*/ 71 w 136"/>
                  <a:gd name="T19" fmla="*/ 0 h 168"/>
                  <a:gd name="T20" fmla="*/ 126 w 136"/>
                  <a:gd name="T21" fmla="*/ 8 h 168"/>
                  <a:gd name="T22" fmla="*/ 114 w 136"/>
                  <a:gd name="T23" fmla="*/ 40 h 168"/>
                  <a:gd name="T24" fmla="*/ 77 w 136"/>
                  <a:gd name="T25" fmla="*/ 33 h 168"/>
                  <a:gd name="T26" fmla="*/ 54 w 136"/>
                  <a:gd name="T27" fmla="*/ 46 h 168"/>
                  <a:gd name="T28" fmla="*/ 64 w 136"/>
                  <a:gd name="T29" fmla="*/ 58 h 168"/>
                  <a:gd name="T30" fmla="*/ 94 w 136"/>
                  <a:gd name="T31" fmla="*/ 65 h 168"/>
                  <a:gd name="T32" fmla="*/ 136 w 136"/>
                  <a:gd name="T33" fmla="*/ 115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6" h="168">
                    <a:moveTo>
                      <a:pt x="136" y="115"/>
                    </a:moveTo>
                    <a:cubicBezTo>
                      <a:pt x="136" y="149"/>
                      <a:pt x="104" y="168"/>
                      <a:pt x="66" y="168"/>
                    </a:cubicBezTo>
                    <a:cubicBezTo>
                      <a:pt x="41" y="168"/>
                      <a:pt x="21" y="164"/>
                      <a:pt x="0" y="156"/>
                    </a:cubicBezTo>
                    <a:cubicBezTo>
                      <a:pt x="14" y="124"/>
                      <a:pt x="14" y="124"/>
                      <a:pt x="14" y="124"/>
                    </a:cubicBezTo>
                    <a:cubicBezTo>
                      <a:pt x="26" y="129"/>
                      <a:pt x="44" y="134"/>
                      <a:pt x="59" y="134"/>
                    </a:cubicBezTo>
                    <a:cubicBezTo>
                      <a:pt x="70" y="134"/>
                      <a:pt x="86" y="133"/>
                      <a:pt x="86" y="119"/>
                    </a:cubicBezTo>
                    <a:cubicBezTo>
                      <a:pt x="86" y="113"/>
                      <a:pt x="82" y="109"/>
                      <a:pt x="75" y="107"/>
                    </a:cubicBezTo>
                    <a:cubicBezTo>
                      <a:pt x="65" y="104"/>
                      <a:pt x="51" y="102"/>
                      <a:pt x="41" y="99"/>
                    </a:cubicBezTo>
                    <a:cubicBezTo>
                      <a:pt x="21" y="93"/>
                      <a:pt x="4" y="83"/>
                      <a:pt x="4" y="53"/>
                    </a:cubicBezTo>
                    <a:cubicBezTo>
                      <a:pt x="4" y="21"/>
                      <a:pt x="32" y="0"/>
                      <a:pt x="71" y="0"/>
                    </a:cubicBezTo>
                    <a:cubicBezTo>
                      <a:pt x="96" y="0"/>
                      <a:pt x="112" y="3"/>
                      <a:pt x="126" y="8"/>
                    </a:cubicBezTo>
                    <a:cubicBezTo>
                      <a:pt x="114" y="40"/>
                      <a:pt x="114" y="40"/>
                      <a:pt x="114" y="40"/>
                    </a:cubicBezTo>
                    <a:cubicBezTo>
                      <a:pt x="107" y="37"/>
                      <a:pt x="90" y="33"/>
                      <a:pt x="77" y="33"/>
                    </a:cubicBezTo>
                    <a:cubicBezTo>
                      <a:pt x="64" y="33"/>
                      <a:pt x="54" y="38"/>
                      <a:pt x="54" y="46"/>
                    </a:cubicBezTo>
                    <a:cubicBezTo>
                      <a:pt x="54" y="50"/>
                      <a:pt x="57" y="56"/>
                      <a:pt x="64" y="58"/>
                    </a:cubicBezTo>
                    <a:cubicBezTo>
                      <a:pt x="72" y="60"/>
                      <a:pt x="84" y="63"/>
                      <a:pt x="94" y="65"/>
                    </a:cubicBezTo>
                    <a:cubicBezTo>
                      <a:pt x="115" y="70"/>
                      <a:pt x="136" y="82"/>
                      <a:pt x="136" y="11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0" lang="en-US" sz="2400">
                  <a:solidFill>
                    <a:srgbClr val="6D6E71"/>
                  </a:solidFill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4" name="Freeform 58"/>
              <p:cNvSpPr>
                <a:spLocks noEditPoints="1"/>
              </p:cNvSpPr>
              <p:nvPr/>
            </p:nvSpPr>
            <p:spPr bwMode="gray">
              <a:xfrm>
                <a:off x="6289675" y="3173413"/>
                <a:ext cx="530225" cy="623888"/>
              </a:xfrm>
              <a:custGeom>
                <a:avLst/>
                <a:gdLst>
                  <a:gd name="T0" fmla="*/ 141 w 141"/>
                  <a:gd name="T1" fmla="*/ 163 h 166"/>
                  <a:gd name="T2" fmla="*/ 95 w 141"/>
                  <a:gd name="T3" fmla="*/ 163 h 166"/>
                  <a:gd name="T4" fmla="*/ 95 w 141"/>
                  <a:gd name="T5" fmla="*/ 150 h 166"/>
                  <a:gd name="T6" fmla="*/ 49 w 141"/>
                  <a:gd name="T7" fmla="*/ 166 h 166"/>
                  <a:gd name="T8" fmla="*/ 0 w 141"/>
                  <a:gd name="T9" fmla="*/ 122 h 166"/>
                  <a:gd name="T10" fmla="*/ 93 w 141"/>
                  <a:gd name="T11" fmla="*/ 61 h 166"/>
                  <a:gd name="T12" fmla="*/ 93 w 141"/>
                  <a:gd name="T13" fmla="*/ 56 h 166"/>
                  <a:gd name="T14" fmla="*/ 65 w 141"/>
                  <a:gd name="T15" fmla="*/ 34 h 166"/>
                  <a:gd name="T16" fmla="*/ 19 w 141"/>
                  <a:gd name="T17" fmla="*/ 49 h 166"/>
                  <a:gd name="T18" fmla="*/ 7 w 141"/>
                  <a:gd name="T19" fmla="*/ 20 h 166"/>
                  <a:gd name="T20" fmla="*/ 79 w 141"/>
                  <a:gd name="T21" fmla="*/ 0 h 166"/>
                  <a:gd name="T22" fmla="*/ 141 w 141"/>
                  <a:gd name="T23" fmla="*/ 50 h 166"/>
                  <a:gd name="T24" fmla="*/ 141 w 141"/>
                  <a:gd name="T25" fmla="*/ 163 h 166"/>
                  <a:gd name="T26" fmla="*/ 93 w 141"/>
                  <a:gd name="T27" fmla="*/ 120 h 166"/>
                  <a:gd name="T28" fmla="*/ 93 w 141"/>
                  <a:gd name="T29" fmla="*/ 91 h 166"/>
                  <a:gd name="T30" fmla="*/ 49 w 141"/>
                  <a:gd name="T31" fmla="*/ 115 h 166"/>
                  <a:gd name="T32" fmla="*/ 69 w 141"/>
                  <a:gd name="T33" fmla="*/ 132 h 166"/>
                  <a:gd name="T34" fmla="*/ 93 w 141"/>
                  <a:gd name="T35" fmla="*/ 12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1" h="166">
                    <a:moveTo>
                      <a:pt x="141" y="163"/>
                    </a:moveTo>
                    <a:cubicBezTo>
                      <a:pt x="95" y="163"/>
                      <a:pt x="95" y="163"/>
                      <a:pt x="95" y="163"/>
                    </a:cubicBezTo>
                    <a:cubicBezTo>
                      <a:pt x="95" y="150"/>
                      <a:pt x="95" y="150"/>
                      <a:pt x="95" y="150"/>
                    </a:cubicBezTo>
                    <a:cubicBezTo>
                      <a:pt x="83" y="161"/>
                      <a:pt x="67" y="166"/>
                      <a:pt x="49" y="166"/>
                    </a:cubicBezTo>
                    <a:cubicBezTo>
                      <a:pt x="20" y="166"/>
                      <a:pt x="0" y="152"/>
                      <a:pt x="0" y="122"/>
                    </a:cubicBezTo>
                    <a:cubicBezTo>
                      <a:pt x="0" y="69"/>
                      <a:pt x="52" y="61"/>
                      <a:pt x="93" y="61"/>
                    </a:cubicBezTo>
                    <a:cubicBezTo>
                      <a:pt x="93" y="56"/>
                      <a:pt x="93" y="56"/>
                      <a:pt x="93" y="56"/>
                    </a:cubicBezTo>
                    <a:cubicBezTo>
                      <a:pt x="93" y="43"/>
                      <a:pt x="88" y="34"/>
                      <a:pt x="65" y="34"/>
                    </a:cubicBezTo>
                    <a:cubicBezTo>
                      <a:pt x="49" y="34"/>
                      <a:pt x="31" y="42"/>
                      <a:pt x="19" y="49"/>
                    </a:cubicBezTo>
                    <a:cubicBezTo>
                      <a:pt x="7" y="20"/>
                      <a:pt x="7" y="20"/>
                      <a:pt x="7" y="20"/>
                    </a:cubicBezTo>
                    <a:cubicBezTo>
                      <a:pt x="28" y="8"/>
                      <a:pt x="54" y="0"/>
                      <a:pt x="79" y="0"/>
                    </a:cubicBezTo>
                    <a:cubicBezTo>
                      <a:pt x="117" y="0"/>
                      <a:pt x="141" y="18"/>
                      <a:pt x="141" y="50"/>
                    </a:cubicBezTo>
                    <a:lnTo>
                      <a:pt x="141" y="163"/>
                    </a:lnTo>
                    <a:close/>
                    <a:moveTo>
                      <a:pt x="93" y="120"/>
                    </a:moveTo>
                    <a:cubicBezTo>
                      <a:pt x="93" y="91"/>
                      <a:pt x="93" y="91"/>
                      <a:pt x="93" y="91"/>
                    </a:cubicBezTo>
                    <a:cubicBezTo>
                      <a:pt x="70" y="90"/>
                      <a:pt x="49" y="93"/>
                      <a:pt x="49" y="115"/>
                    </a:cubicBezTo>
                    <a:cubicBezTo>
                      <a:pt x="49" y="128"/>
                      <a:pt x="60" y="132"/>
                      <a:pt x="69" y="132"/>
                    </a:cubicBezTo>
                    <a:cubicBezTo>
                      <a:pt x="79" y="132"/>
                      <a:pt x="87" y="127"/>
                      <a:pt x="93" y="12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0" lang="en-US" sz="2400">
                  <a:solidFill>
                    <a:srgbClr val="6D6E71"/>
                  </a:solidFill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5" name="Freeform 59"/>
              <p:cNvSpPr>
                <a:spLocks noEditPoints="1"/>
              </p:cNvSpPr>
              <p:nvPr/>
            </p:nvSpPr>
            <p:spPr bwMode="gray">
              <a:xfrm>
                <a:off x="4502150" y="3173413"/>
                <a:ext cx="596900" cy="623888"/>
              </a:xfrm>
              <a:custGeom>
                <a:avLst/>
                <a:gdLst>
                  <a:gd name="T0" fmla="*/ 159 w 159"/>
                  <a:gd name="T1" fmla="*/ 77 h 166"/>
                  <a:gd name="T2" fmla="*/ 158 w 159"/>
                  <a:gd name="T3" fmla="*/ 94 h 166"/>
                  <a:gd name="T4" fmla="*/ 53 w 159"/>
                  <a:gd name="T5" fmla="*/ 94 h 166"/>
                  <a:gd name="T6" fmla="*/ 98 w 159"/>
                  <a:gd name="T7" fmla="*/ 130 h 166"/>
                  <a:gd name="T8" fmla="*/ 139 w 159"/>
                  <a:gd name="T9" fmla="*/ 118 h 166"/>
                  <a:gd name="T10" fmla="*/ 152 w 159"/>
                  <a:gd name="T11" fmla="*/ 148 h 166"/>
                  <a:gd name="T12" fmla="*/ 81 w 159"/>
                  <a:gd name="T13" fmla="*/ 166 h 166"/>
                  <a:gd name="T14" fmla="*/ 0 w 159"/>
                  <a:gd name="T15" fmla="*/ 83 h 166"/>
                  <a:gd name="T16" fmla="*/ 84 w 159"/>
                  <a:gd name="T17" fmla="*/ 0 h 166"/>
                  <a:gd name="T18" fmla="*/ 159 w 159"/>
                  <a:gd name="T19" fmla="*/ 77 h 166"/>
                  <a:gd name="T20" fmla="*/ 108 w 159"/>
                  <a:gd name="T21" fmla="*/ 62 h 166"/>
                  <a:gd name="T22" fmla="*/ 83 w 159"/>
                  <a:gd name="T23" fmla="*/ 34 h 166"/>
                  <a:gd name="T24" fmla="*/ 53 w 159"/>
                  <a:gd name="T25" fmla="*/ 62 h 166"/>
                  <a:gd name="T26" fmla="*/ 108 w 159"/>
                  <a:gd name="T27" fmla="*/ 62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59" h="166">
                    <a:moveTo>
                      <a:pt x="159" y="77"/>
                    </a:moveTo>
                    <a:cubicBezTo>
                      <a:pt x="159" y="83"/>
                      <a:pt x="158" y="88"/>
                      <a:pt x="158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53" y="117"/>
                      <a:pt x="65" y="130"/>
                      <a:pt x="98" y="130"/>
                    </a:cubicBezTo>
                    <a:cubicBezTo>
                      <a:pt x="113" y="130"/>
                      <a:pt x="131" y="124"/>
                      <a:pt x="139" y="118"/>
                    </a:cubicBezTo>
                    <a:cubicBezTo>
                      <a:pt x="152" y="148"/>
                      <a:pt x="152" y="148"/>
                      <a:pt x="152" y="148"/>
                    </a:cubicBezTo>
                    <a:cubicBezTo>
                      <a:pt x="130" y="160"/>
                      <a:pt x="107" y="166"/>
                      <a:pt x="81" y="166"/>
                    </a:cubicBezTo>
                    <a:cubicBezTo>
                      <a:pt x="31" y="166"/>
                      <a:pt x="0" y="134"/>
                      <a:pt x="0" y="83"/>
                    </a:cubicBezTo>
                    <a:cubicBezTo>
                      <a:pt x="0" y="32"/>
                      <a:pt x="41" y="0"/>
                      <a:pt x="84" y="0"/>
                    </a:cubicBezTo>
                    <a:cubicBezTo>
                      <a:pt x="139" y="0"/>
                      <a:pt x="159" y="32"/>
                      <a:pt x="159" y="77"/>
                    </a:cubicBezTo>
                    <a:close/>
                    <a:moveTo>
                      <a:pt x="108" y="62"/>
                    </a:moveTo>
                    <a:cubicBezTo>
                      <a:pt x="109" y="44"/>
                      <a:pt x="100" y="34"/>
                      <a:pt x="83" y="34"/>
                    </a:cubicBezTo>
                    <a:cubicBezTo>
                      <a:pt x="66" y="34"/>
                      <a:pt x="56" y="46"/>
                      <a:pt x="53" y="62"/>
                    </a:cubicBezTo>
                    <a:lnTo>
                      <a:pt x="108" y="6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0" lang="en-US" sz="2400">
                  <a:solidFill>
                    <a:srgbClr val="6D6E71"/>
                  </a:solidFill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6" name="Freeform 60"/>
              <p:cNvSpPr>
                <a:spLocks noEditPoints="1"/>
              </p:cNvSpPr>
              <p:nvPr/>
            </p:nvSpPr>
            <p:spPr bwMode="gray">
              <a:xfrm>
                <a:off x="3863975" y="3170238"/>
                <a:ext cx="642938" cy="946150"/>
              </a:xfrm>
              <a:custGeom>
                <a:avLst/>
                <a:gdLst>
                  <a:gd name="T0" fmla="*/ 171 w 171"/>
                  <a:gd name="T1" fmla="*/ 183 h 252"/>
                  <a:gd name="T2" fmla="*/ 79 w 171"/>
                  <a:gd name="T3" fmla="*/ 251 h 252"/>
                  <a:gd name="T4" fmla="*/ 0 w 171"/>
                  <a:gd name="T5" fmla="*/ 201 h 252"/>
                  <a:gd name="T6" fmla="*/ 26 w 171"/>
                  <a:gd name="T7" fmla="*/ 165 h 252"/>
                  <a:gd name="T8" fmla="*/ 11 w 171"/>
                  <a:gd name="T9" fmla="*/ 155 h 252"/>
                  <a:gd name="T10" fmla="*/ 3 w 171"/>
                  <a:gd name="T11" fmla="*/ 130 h 252"/>
                  <a:gd name="T12" fmla="*/ 33 w 171"/>
                  <a:gd name="T13" fmla="*/ 91 h 252"/>
                  <a:gd name="T14" fmla="*/ 12 w 171"/>
                  <a:gd name="T15" fmla="*/ 52 h 252"/>
                  <a:gd name="T16" fmla="*/ 86 w 171"/>
                  <a:gd name="T17" fmla="*/ 0 h 252"/>
                  <a:gd name="T18" fmla="*/ 156 w 171"/>
                  <a:gd name="T19" fmla="*/ 51 h 252"/>
                  <a:gd name="T20" fmla="*/ 81 w 171"/>
                  <a:gd name="T21" fmla="*/ 105 h 252"/>
                  <a:gd name="T22" fmla="*/ 61 w 171"/>
                  <a:gd name="T23" fmla="*/ 103 h 252"/>
                  <a:gd name="T24" fmla="*/ 49 w 171"/>
                  <a:gd name="T25" fmla="*/ 117 h 252"/>
                  <a:gd name="T26" fmla="*/ 73 w 171"/>
                  <a:gd name="T27" fmla="*/ 131 h 252"/>
                  <a:gd name="T28" fmla="*/ 112 w 171"/>
                  <a:gd name="T29" fmla="*/ 131 h 252"/>
                  <a:gd name="T30" fmla="*/ 171 w 171"/>
                  <a:gd name="T31" fmla="*/ 183 h 252"/>
                  <a:gd name="T32" fmla="*/ 108 w 171"/>
                  <a:gd name="T33" fmla="*/ 53 h 252"/>
                  <a:gd name="T34" fmla="*/ 84 w 171"/>
                  <a:gd name="T35" fmla="*/ 29 h 252"/>
                  <a:gd name="T36" fmla="*/ 60 w 171"/>
                  <a:gd name="T37" fmla="*/ 53 h 252"/>
                  <a:gd name="T38" fmla="*/ 83 w 171"/>
                  <a:gd name="T39" fmla="*/ 77 h 252"/>
                  <a:gd name="T40" fmla="*/ 108 w 171"/>
                  <a:gd name="T41" fmla="*/ 53 h 252"/>
                  <a:gd name="T42" fmla="*/ 121 w 171"/>
                  <a:gd name="T43" fmla="*/ 190 h 252"/>
                  <a:gd name="T44" fmla="*/ 100 w 171"/>
                  <a:gd name="T45" fmla="*/ 172 h 252"/>
                  <a:gd name="T46" fmla="*/ 57 w 171"/>
                  <a:gd name="T47" fmla="*/ 172 h 252"/>
                  <a:gd name="T48" fmla="*/ 40 w 171"/>
                  <a:gd name="T49" fmla="*/ 195 h 252"/>
                  <a:gd name="T50" fmla="*/ 81 w 171"/>
                  <a:gd name="T51" fmla="*/ 218 h 252"/>
                  <a:gd name="T52" fmla="*/ 121 w 171"/>
                  <a:gd name="T53" fmla="*/ 190 h 2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71" h="252">
                    <a:moveTo>
                      <a:pt x="171" y="183"/>
                    </a:moveTo>
                    <a:cubicBezTo>
                      <a:pt x="171" y="230"/>
                      <a:pt x="124" y="251"/>
                      <a:pt x="79" y="251"/>
                    </a:cubicBezTo>
                    <a:cubicBezTo>
                      <a:pt x="39" y="252"/>
                      <a:pt x="0" y="240"/>
                      <a:pt x="0" y="201"/>
                    </a:cubicBezTo>
                    <a:cubicBezTo>
                      <a:pt x="0" y="183"/>
                      <a:pt x="16" y="171"/>
                      <a:pt x="26" y="165"/>
                    </a:cubicBezTo>
                    <a:cubicBezTo>
                      <a:pt x="20" y="162"/>
                      <a:pt x="15" y="160"/>
                      <a:pt x="11" y="155"/>
                    </a:cubicBezTo>
                    <a:cubicBezTo>
                      <a:pt x="7" y="150"/>
                      <a:pt x="3" y="142"/>
                      <a:pt x="3" y="130"/>
                    </a:cubicBezTo>
                    <a:cubicBezTo>
                      <a:pt x="3" y="115"/>
                      <a:pt x="17" y="100"/>
                      <a:pt x="33" y="91"/>
                    </a:cubicBezTo>
                    <a:cubicBezTo>
                      <a:pt x="24" y="86"/>
                      <a:pt x="12" y="78"/>
                      <a:pt x="12" y="52"/>
                    </a:cubicBezTo>
                    <a:cubicBezTo>
                      <a:pt x="12" y="18"/>
                      <a:pt x="44" y="0"/>
                      <a:pt x="86" y="0"/>
                    </a:cubicBezTo>
                    <a:cubicBezTo>
                      <a:pt x="122" y="0"/>
                      <a:pt x="156" y="9"/>
                      <a:pt x="156" y="51"/>
                    </a:cubicBezTo>
                    <a:cubicBezTo>
                      <a:pt x="156" y="91"/>
                      <a:pt x="119" y="105"/>
                      <a:pt x="81" y="105"/>
                    </a:cubicBezTo>
                    <a:cubicBezTo>
                      <a:pt x="73" y="105"/>
                      <a:pt x="67" y="104"/>
                      <a:pt x="61" y="103"/>
                    </a:cubicBezTo>
                    <a:cubicBezTo>
                      <a:pt x="57" y="105"/>
                      <a:pt x="49" y="111"/>
                      <a:pt x="49" y="117"/>
                    </a:cubicBezTo>
                    <a:cubicBezTo>
                      <a:pt x="49" y="129"/>
                      <a:pt x="66" y="131"/>
                      <a:pt x="73" y="131"/>
                    </a:cubicBezTo>
                    <a:cubicBezTo>
                      <a:pt x="112" y="131"/>
                      <a:pt x="112" y="131"/>
                      <a:pt x="112" y="131"/>
                    </a:cubicBezTo>
                    <a:cubicBezTo>
                      <a:pt x="149" y="131"/>
                      <a:pt x="171" y="148"/>
                      <a:pt x="171" y="183"/>
                    </a:cubicBezTo>
                    <a:close/>
                    <a:moveTo>
                      <a:pt x="108" y="53"/>
                    </a:moveTo>
                    <a:cubicBezTo>
                      <a:pt x="108" y="40"/>
                      <a:pt x="101" y="29"/>
                      <a:pt x="84" y="29"/>
                    </a:cubicBezTo>
                    <a:cubicBezTo>
                      <a:pt x="69" y="29"/>
                      <a:pt x="60" y="42"/>
                      <a:pt x="60" y="53"/>
                    </a:cubicBezTo>
                    <a:cubicBezTo>
                      <a:pt x="60" y="67"/>
                      <a:pt x="68" y="77"/>
                      <a:pt x="83" y="77"/>
                    </a:cubicBezTo>
                    <a:cubicBezTo>
                      <a:pt x="100" y="77"/>
                      <a:pt x="108" y="66"/>
                      <a:pt x="108" y="53"/>
                    </a:cubicBezTo>
                    <a:close/>
                    <a:moveTo>
                      <a:pt x="121" y="190"/>
                    </a:moveTo>
                    <a:cubicBezTo>
                      <a:pt x="121" y="177"/>
                      <a:pt x="111" y="172"/>
                      <a:pt x="100" y="172"/>
                    </a:cubicBezTo>
                    <a:cubicBezTo>
                      <a:pt x="57" y="172"/>
                      <a:pt x="57" y="172"/>
                      <a:pt x="57" y="172"/>
                    </a:cubicBezTo>
                    <a:cubicBezTo>
                      <a:pt x="50" y="176"/>
                      <a:pt x="40" y="184"/>
                      <a:pt x="40" y="195"/>
                    </a:cubicBezTo>
                    <a:cubicBezTo>
                      <a:pt x="40" y="209"/>
                      <a:pt x="59" y="218"/>
                      <a:pt x="81" y="218"/>
                    </a:cubicBezTo>
                    <a:cubicBezTo>
                      <a:pt x="104" y="218"/>
                      <a:pt x="121" y="208"/>
                      <a:pt x="121" y="19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0" lang="en-US" sz="2400">
                  <a:solidFill>
                    <a:srgbClr val="6D6E71"/>
                  </a:solidFill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7" name="Freeform 61"/>
              <p:cNvSpPr>
                <a:spLocks noEditPoints="1"/>
              </p:cNvSpPr>
              <p:nvPr/>
            </p:nvSpPr>
            <p:spPr bwMode="gray">
              <a:xfrm>
                <a:off x="6929438" y="3563938"/>
                <a:ext cx="206375" cy="203200"/>
              </a:xfrm>
              <a:custGeom>
                <a:avLst/>
                <a:gdLst>
                  <a:gd name="T0" fmla="*/ 27 w 55"/>
                  <a:gd name="T1" fmla="*/ 0 h 54"/>
                  <a:gd name="T2" fmla="*/ 55 w 55"/>
                  <a:gd name="T3" fmla="*/ 27 h 54"/>
                  <a:gd name="T4" fmla="*/ 27 w 55"/>
                  <a:gd name="T5" fmla="*/ 54 h 54"/>
                  <a:gd name="T6" fmla="*/ 0 w 55"/>
                  <a:gd name="T7" fmla="*/ 27 h 54"/>
                  <a:gd name="T8" fmla="*/ 27 w 55"/>
                  <a:gd name="T9" fmla="*/ 0 h 54"/>
                  <a:gd name="T10" fmla="*/ 27 w 55"/>
                  <a:gd name="T11" fmla="*/ 49 h 54"/>
                  <a:gd name="T12" fmla="*/ 48 w 55"/>
                  <a:gd name="T13" fmla="*/ 27 h 54"/>
                  <a:gd name="T14" fmla="*/ 27 w 55"/>
                  <a:gd name="T15" fmla="*/ 6 h 54"/>
                  <a:gd name="T16" fmla="*/ 7 w 55"/>
                  <a:gd name="T17" fmla="*/ 27 h 54"/>
                  <a:gd name="T18" fmla="*/ 27 w 55"/>
                  <a:gd name="T19" fmla="*/ 49 h 54"/>
                  <a:gd name="T20" fmla="*/ 17 w 55"/>
                  <a:gd name="T21" fmla="*/ 12 h 54"/>
                  <a:gd name="T22" fmla="*/ 28 w 55"/>
                  <a:gd name="T23" fmla="*/ 12 h 54"/>
                  <a:gd name="T24" fmla="*/ 40 w 55"/>
                  <a:gd name="T25" fmla="*/ 21 h 54"/>
                  <a:gd name="T26" fmla="*/ 32 w 55"/>
                  <a:gd name="T27" fmla="*/ 29 h 54"/>
                  <a:gd name="T28" fmla="*/ 40 w 55"/>
                  <a:gd name="T29" fmla="*/ 42 h 54"/>
                  <a:gd name="T30" fmla="*/ 34 w 55"/>
                  <a:gd name="T31" fmla="*/ 42 h 54"/>
                  <a:gd name="T32" fmla="*/ 26 w 55"/>
                  <a:gd name="T33" fmla="*/ 29 h 54"/>
                  <a:gd name="T34" fmla="*/ 23 w 55"/>
                  <a:gd name="T35" fmla="*/ 29 h 54"/>
                  <a:gd name="T36" fmla="*/ 23 w 55"/>
                  <a:gd name="T37" fmla="*/ 42 h 54"/>
                  <a:gd name="T38" fmla="*/ 17 w 55"/>
                  <a:gd name="T39" fmla="*/ 42 h 54"/>
                  <a:gd name="T40" fmla="*/ 17 w 55"/>
                  <a:gd name="T41" fmla="*/ 12 h 54"/>
                  <a:gd name="T42" fmla="*/ 23 w 55"/>
                  <a:gd name="T43" fmla="*/ 25 h 54"/>
                  <a:gd name="T44" fmla="*/ 28 w 55"/>
                  <a:gd name="T45" fmla="*/ 25 h 54"/>
                  <a:gd name="T46" fmla="*/ 34 w 55"/>
                  <a:gd name="T47" fmla="*/ 20 h 54"/>
                  <a:gd name="T48" fmla="*/ 28 w 55"/>
                  <a:gd name="T49" fmla="*/ 17 h 54"/>
                  <a:gd name="T50" fmla="*/ 23 w 55"/>
                  <a:gd name="T51" fmla="*/ 17 h 54"/>
                  <a:gd name="T52" fmla="*/ 23 w 55"/>
                  <a:gd name="T53" fmla="*/ 25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5" h="54">
                    <a:moveTo>
                      <a:pt x="27" y="0"/>
                    </a:moveTo>
                    <a:cubicBezTo>
                      <a:pt x="42" y="0"/>
                      <a:pt x="55" y="11"/>
                      <a:pt x="55" y="27"/>
                    </a:cubicBezTo>
                    <a:cubicBezTo>
                      <a:pt x="55" y="44"/>
                      <a:pt x="42" y="54"/>
                      <a:pt x="27" y="54"/>
                    </a:cubicBezTo>
                    <a:cubicBezTo>
                      <a:pt x="13" y="54"/>
                      <a:pt x="0" y="44"/>
                      <a:pt x="0" y="27"/>
                    </a:cubicBezTo>
                    <a:cubicBezTo>
                      <a:pt x="0" y="11"/>
                      <a:pt x="13" y="0"/>
                      <a:pt x="27" y="0"/>
                    </a:cubicBezTo>
                    <a:close/>
                    <a:moveTo>
                      <a:pt x="27" y="49"/>
                    </a:moveTo>
                    <a:cubicBezTo>
                      <a:pt x="39" y="49"/>
                      <a:pt x="48" y="40"/>
                      <a:pt x="48" y="27"/>
                    </a:cubicBezTo>
                    <a:cubicBezTo>
                      <a:pt x="48" y="15"/>
                      <a:pt x="39" y="6"/>
                      <a:pt x="27" y="6"/>
                    </a:cubicBezTo>
                    <a:cubicBezTo>
                      <a:pt x="16" y="6"/>
                      <a:pt x="7" y="15"/>
                      <a:pt x="7" y="27"/>
                    </a:cubicBezTo>
                    <a:cubicBezTo>
                      <a:pt x="7" y="40"/>
                      <a:pt x="16" y="49"/>
                      <a:pt x="27" y="49"/>
                    </a:cubicBezTo>
                    <a:close/>
                    <a:moveTo>
                      <a:pt x="17" y="12"/>
                    </a:moveTo>
                    <a:cubicBezTo>
                      <a:pt x="28" y="12"/>
                      <a:pt x="28" y="12"/>
                      <a:pt x="28" y="12"/>
                    </a:cubicBezTo>
                    <a:cubicBezTo>
                      <a:pt x="36" y="12"/>
                      <a:pt x="40" y="14"/>
                      <a:pt x="40" y="21"/>
                    </a:cubicBezTo>
                    <a:cubicBezTo>
                      <a:pt x="40" y="27"/>
                      <a:pt x="36" y="29"/>
                      <a:pt x="32" y="29"/>
                    </a:cubicBezTo>
                    <a:cubicBezTo>
                      <a:pt x="40" y="42"/>
                      <a:pt x="40" y="42"/>
                      <a:pt x="40" y="42"/>
                    </a:cubicBezTo>
                    <a:cubicBezTo>
                      <a:pt x="34" y="42"/>
                      <a:pt x="34" y="42"/>
                      <a:pt x="34" y="42"/>
                    </a:cubicBezTo>
                    <a:cubicBezTo>
                      <a:pt x="26" y="29"/>
                      <a:pt x="26" y="29"/>
                      <a:pt x="26" y="29"/>
                    </a:cubicBezTo>
                    <a:cubicBezTo>
                      <a:pt x="23" y="29"/>
                      <a:pt x="23" y="29"/>
                      <a:pt x="23" y="29"/>
                    </a:cubicBezTo>
                    <a:cubicBezTo>
                      <a:pt x="23" y="42"/>
                      <a:pt x="23" y="42"/>
                      <a:pt x="23" y="42"/>
                    </a:cubicBezTo>
                    <a:cubicBezTo>
                      <a:pt x="17" y="42"/>
                      <a:pt x="17" y="42"/>
                      <a:pt x="17" y="42"/>
                    </a:cubicBezTo>
                    <a:lnTo>
                      <a:pt x="17" y="12"/>
                    </a:lnTo>
                    <a:close/>
                    <a:moveTo>
                      <a:pt x="23" y="25"/>
                    </a:moveTo>
                    <a:cubicBezTo>
                      <a:pt x="28" y="25"/>
                      <a:pt x="28" y="25"/>
                      <a:pt x="28" y="25"/>
                    </a:cubicBezTo>
                    <a:cubicBezTo>
                      <a:pt x="31" y="25"/>
                      <a:pt x="34" y="24"/>
                      <a:pt x="34" y="20"/>
                    </a:cubicBezTo>
                    <a:cubicBezTo>
                      <a:pt x="34" y="17"/>
                      <a:pt x="30" y="17"/>
                      <a:pt x="28" y="17"/>
                    </a:cubicBezTo>
                    <a:cubicBezTo>
                      <a:pt x="23" y="17"/>
                      <a:pt x="23" y="17"/>
                      <a:pt x="23" y="17"/>
                    </a:cubicBezTo>
                    <a:lnTo>
                      <a:pt x="23" y="2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0" lang="en-US" sz="2400">
                  <a:solidFill>
                    <a:srgbClr val="6D6E71"/>
                  </a:solidFill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97418" y="179917"/>
            <a:ext cx="11274841" cy="81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7418" y="1210734"/>
            <a:ext cx="11279716" cy="47307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7174" name="Rectangle 6"/>
          <p:cNvSpPr>
            <a:spLocks noChangeArrowheads="1"/>
          </p:cNvSpPr>
          <p:nvPr/>
        </p:nvSpPr>
        <p:spPr bwMode="auto">
          <a:xfrm>
            <a:off x="391584" y="6377518"/>
            <a:ext cx="742949" cy="3746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eaLnBrk="0" hangingPunct="0">
              <a:spcAft>
                <a:spcPts val="800"/>
              </a:spcAft>
              <a:tabLst>
                <a:tab pos="588419" algn="l"/>
              </a:tabLst>
              <a:defRPr/>
            </a:pPr>
            <a:fld id="{7E0E9ECF-FD2B-41EC-8069-D53BFBDC1552}" type="slidenum">
              <a:rPr kumimoji="0" lang="en-US" sz="1467">
                <a:ea typeface="+mn-ea"/>
                <a:cs typeface="+mn-cs"/>
              </a:rPr>
              <a:pPr eaLnBrk="0" hangingPunct="0">
                <a:spcAft>
                  <a:spcPts val="800"/>
                </a:spcAft>
                <a:tabLst>
                  <a:tab pos="588419" algn="l"/>
                </a:tabLst>
                <a:defRPr/>
              </a:pPr>
              <a:t>‹#›</a:t>
            </a:fld>
            <a:r>
              <a:rPr kumimoji="0" lang="en-US" sz="1467">
                <a:ea typeface="+mn-ea"/>
                <a:cs typeface="+mn-cs"/>
              </a:rPr>
              <a:t>	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880"/>
          <a:stretch/>
        </p:blipFill>
        <p:spPr>
          <a:xfrm>
            <a:off x="9190267" y="6272816"/>
            <a:ext cx="1901952" cy="575605"/>
          </a:xfrm>
          <a:prstGeom prst="rect">
            <a:avLst/>
          </a:prstGeom>
        </p:spPr>
      </p:pic>
      <p:sp>
        <p:nvSpPr>
          <p:cNvPr id="9" name="Rectangle 12"/>
          <p:cNvSpPr>
            <a:spLocks noChangeArrowheads="1"/>
          </p:cNvSpPr>
          <p:nvPr userDrawn="1"/>
        </p:nvSpPr>
        <p:spPr bwMode="gray">
          <a:xfrm>
            <a:off x="0" y="6156232"/>
            <a:ext cx="12192000" cy="101597"/>
          </a:xfrm>
          <a:prstGeom prst="rect">
            <a:avLst/>
          </a:prstGeom>
          <a:solidFill>
            <a:srgbClr val="7AB800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6D6E7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76631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  <p:sldLayoutId id="2147483734" r:id="rId12"/>
    <p:sldLayoutId id="2147483735" r:id="rId13"/>
  </p:sldLayoutIdLst>
  <p:transition>
    <p:wipe dir="r"/>
  </p:transition>
  <p:hf hdr="0" ftr="0" dt="0"/>
  <p:txStyles>
    <p:titleStyle>
      <a:lvl1pPr algn="l" defTabSz="12763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12763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</a:defRPr>
      </a:lvl2pPr>
      <a:lvl3pPr algn="l" defTabSz="12763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</a:defRPr>
      </a:lvl3pPr>
      <a:lvl4pPr algn="l" defTabSz="12763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</a:defRPr>
      </a:lvl4pPr>
      <a:lvl5pPr algn="l" defTabSz="12763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</a:defRPr>
      </a:lvl5pPr>
      <a:lvl6pPr marL="609585" algn="l" defTabSz="1276319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33" b="1">
          <a:solidFill>
            <a:schemeClr val="tx2"/>
          </a:solidFill>
          <a:latin typeface="Arial" charset="0"/>
        </a:defRPr>
      </a:lvl6pPr>
      <a:lvl7pPr marL="1219170" algn="l" defTabSz="1276319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33" b="1">
          <a:solidFill>
            <a:schemeClr val="tx2"/>
          </a:solidFill>
          <a:latin typeface="Arial" charset="0"/>
        </a:defRPr>
      </a:lvl7pPr>
      <a:lvl8pPr marL="1828754" algn="l" defTabSz="1276319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33" b="1">
          <a:solidFill>
            <a:schemeClr val="tx2"/>
          </a:solidFill>
          <a:latin typeface="Arial" charset="0"/>
        </a:defRPr>
      </a:lvl8pPr>
      <a:lvl9pPr marL="2438339" algn="l" defTabSz="1276319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33" b="1">
          <a:solidFill>
            <a:schemeClr val="tx2"/>
          </a:solidFill>
          <a:latin typeface="Arial" charset="0"/>
        </a:defRPr>
      </a:lvl9pPr>
    </p:titleStyle>
    <p:bodyStyle>
      <a:lvl1pPr marL="380990" indent="-380990" algn="l" defTabSz="1276319" rtl="0" eaLnBrk="0" fontAlgn="base" hangingPunct="0">
        <a:lnSpc>
          <a:spcPct val="110000"/>
        </a:lnSpc>
        <a:spcBef>
          <a:spcPct val="0"/>
        </a:spcBef>
        <a:spcAft>
          <a:spcPts val="800"/>
        </a:spcAft>
        <a:buClr>
          <a:schemeClr val="tx2"/>
        </a:buClr>
        <a:buFont typeface="Arial" charset="0"/>
        <a:buChar char="●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901677" indent="-368291" algn="l" defTabSz="1276319" rtl="0" eaLnBrk="0" fontAlgn="base" hangingPunct="0">
        <a:lnSpc>
          <a:spcPct val="110000"/>
        </a:lnSpc>
        <a:spcBef>
          <a:spcPct val="0"/>
        </a:spcBef>
        <a:spcAft>
          <a:spcPts val="800"/>
        </a:spcAft>
        <a:buClr>
          <a:schemeClr val="tx2"/>
        </a:buClr>
        <a:buFont typeface="Arial" charset="0"/>
        <a:buChar char="-"/>
        <a:defRPr>
          <a:solidFill>
            <a:schemeClr val="tx1"/>
          </a:solidFill>
          <a:latin typeface="+mn-lt"/>
        </a:defRPr>
      </a:lvl2pPr>
      <a:lvl3pPr marL="1526079" indent="-383108" algn="l" defTabSz="1276319" rtl="0" eaLnBrk="0" fontAlgn="base" hangingPunct="0">
        <a:lnSpc>
          <a:spcPct val="110000"/>
        </a:lnSpc>
        <a:spcBef>
          <a:spcPct val="0"/>
        </a:spcBef>
        <a:spcAft>
          <a:spcPts val="800"/>
        </a:spcAft>
        <a:buClr>
          <a:schemeClr val="tx2"/>
        </a:buClr>
        <a:buChar char="•"/>
        <a:defRPr>
          <a:solidFill>
            <a:schemeClr val="tx1"/>
          </a:solidFill>
          <a:latin typeface="+mn-lt"/>
        </a:defRPr>
      </a:lvl3pPr>
      <a:lvl4pPr marL="2158946" indent="-393690" algn="l" defTabSz="1276319" rtl="0" eaLnBrk="0" fontAlgn="base" hangingPunct="0">
        <a:lnSpc>
          <a:spcPct val="110000"/>
        </a:lnSpc>
        <a:spcBef>
          <a:spcPct val="0"/>
        </a:spcBef>
        <a:spcAft>
          <a:spcPts val="800"/>
        </a:spcAft>
        <a:buClr>
          <a:schemeClr val="tx2"/>
        </a:buClr>
        <a:buFont typeface="Arial" charset="0"/>
        <a:buChar char="-"/>
        <a:defRPr>
          <a:solidFill>
            <a:schemeClr val="tx1"/>
          </a:solidFill>
          <a:latin typeface="+mn-lt"/>
        </a:defRPr>
      </a:lvl4pPr>
      <a:lvl5pPr marL="2791814" indent="-393690" algn="l" defTabSz="1276319" rtl="0" eaLnBrk="0" fontAlgn="base" hangingPunct="0">
        <a:lnSpc>
          <a:spcPct val="110000"/>
        </a:lnSpc>
        <a:spcBef>
          <a:spcPct val="0"/>
        </a:spcBef>
        <a:spcAft>
          <a:spcPts val="800"/>
        </a:spcAft>
        <a:buClr>
          <a:schemeClr val="tx2"/>
        </a:buClr>
        <a:buChar char="•"/>
        <a:defRPr>
          <a:solidFill>
            <a:schemeClr val="tx1"/>
          </a:solidFill>
          <a:latin typeface="+mn-lt"/>
        </a:defRPr>
      </a:lvl5pPr>
      <a:lvl6pPr marL="3401399" indent="-393690" algn="l" defTabSz="1276319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Char char="•"/>
        <a:defRPr sz="2667">
          <a:solidFill>
            <a:schemeClr val="tx1"/>
          </a:solidFill>
          <a:latin typeface="+mn-lt"/>
        </a:defRPr>
      </a:lvl6pPr>
      <a:lvl7pPr marL="4010984" indent="-393690" algn="l" defTabSz="1276319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Char char="•"/>
        <a:defRPr sz="2667">
          <a:solidFill>
            <a:schemeClr val="tx1"/>
          </a:solidFill>
          <a:latin typeface="+mn-lt"/>
        </a:defRPr>
      </a:lvl7pPr>
      <a:lvl8pPr marL="4620568" indent="-393690" algn="l" defTabSz="1276319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Char char="•"/>
        <a:defRPr sz="2667">
          <a:solidFill>
            <a:schemeClr val="tx1"/>
          </a:solidFill>
          <a:latin typeface="+mn-lt"/>
        </a:defRPr>
      </a:lvl8pPr>
      <a:lvl9pPr marL="5230153" indent="-393690" algn="l" defTabSz="1276319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Char char="•"/>
        <a:defRPr sz="2667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1B9404D-C690-49B1-A383-63A32B9113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28601"/>
            <a:ext cx="11582400" cy="7772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251720-3CE2-4216-B8AE-F11B1138E5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4799" y="1403960"/>
            <a:ext cx="11582399" cy="4844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0762D4-5D39-4E50-B84C-130BB98755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4798" y="6435990"/>
            <a:ext cx="2350008" cy="307366"/>
          </a:xfrm>
          <a:custGeom>
            <a:avLst/>
            <a:gdLst>
              <a:gd name="connsiteX0" fmla="*/ 0 w 2350008"/>
              <a:gd name="connsiteY0" fmla="*/ 0 h 311036"/>
              <a:gd name="connsiteX1" fmla="*/ 2350008 w 2350008"/>
              <a:gd name="connsiteY1" fmla="*/ 0 h 311036"/>
              <a:gd name="connsiteX2" fmla="*/ 2350008 w 2350008"/>
              <a:gd name="connsiteY2" fmla="*/ 311036 h 311036"/>
              <a:gd name="connsiteX3" fmla="*/ 0 w 2350008"/>
              <a:gd name="connsiteY3" fmla="*/ 311036 h 311036"/>
              <a:gd name="connsiteX4" fmla="*/ 0 w 2350008"/>
              <a:gd name="connsiteY4" fmla="*/ 0 h 311036"/>
              <a:gd name="connsiteX0" fmla="*/ 0 w 2350008"/>
              <a:gd name="connsiteY0" fmla="*/ 0 h 311036"/>
              <a:gd name="connsiteX1" fmla="*/ 2350008 w 2350008"/>
              <a:gd name="connsiteY1" fmla="*/ 0 h 311036"/>
              <a:gd name="connsiteX2" fmla="*/ 0 w 2350008"/>
              <a:gd name="connsiteY2" fmla="*/ 311036 h 311036"/>
              <a:gd name="connsiteX3" fmla="*/ 0 w 2350008"/>
              <a:gd name="connsiteY3" fmla="*/ 0 h 311036"/>
              <a:gd name="connsiteX0" fmla="*/ 0 w 2350008"/>
              <a:gd name="connsiteY0" fmla="*/ 0 h 0"/>
              <a:gd name="connsiteX1" fmla="*/ 2350008 w 2350008"/>
              <a:gd name="connsiteY1" fmla="*/ 0 h 0"/>
              <a:gd name="connsiteX2" fmla="*/ 0 w 2350008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50008">
                <a:moveTo>
                  <a:pt x="0" y="0"/>
                </a:moveTo>
                <a:lnTo>
                  <a:pt x="2350008" y="0"/>
                </a:lnTo>
                <a:lnTo>
                  <a:pt x="0" y="0"/>
                </a:lnTo>
                <a:close/>
              </a:path>
            </a:pathLst>
          </a:custGeom>
          <a:ln w="6350">
            <a:solidFill>
              <a:schemeClr val="tx1"/>
            </a:solidFill>
          </a:ln>
        </p:spPr>
        <p:txBody>
          <a:bodyPr vert="horz" lIns="0" tIns="128016" rIns="0" bIns="0" rtlCol="0" anchor="t">
            <a:no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pPr algn="r"/>
            <a:r>
              <a:rPr lang="en-GB" dirty="0"/>
              <a:t>Classification: INTERNAL USE ONL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9BA6B3-09C1-4225-B463-2A8C4527BF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04798" y="6500138"/>
            <a:ext cx="347472" cy="246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7695D00A-BA34-4D39-8C84-2534822D6434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27BE518-6424-B04B-AC74-2A66ED2EF156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0855960" y="6399515"/>
            <a:ext cx="1031238" cy="307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10632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  <p:sldLayoutId id="2147483743" r:id="rId7"/>
    <p:sldLayoutId id="2147483744" r:id="rId8"/>
    <p:sldLayoutId id="2147483745" r:id="rId9"/>
    <p:sldLayoutId id="2147483746" r:id="rId10"/>
    <p:sldLayoutId id="2147483747" r:id="rId11"/>
    <p:sldLayoutId id="2147483748" r:id="rId12"/>
    <p:sldLayoutId id="2147483749" r:id="rId13"/>
    <p:sldLayoutId id="2147483750" r:id="rId14"/>
    <p:sldLayoutId id="2147483751" r:id="rId15"/>
    <p:sldLayoutId id="2147483752" r:id="rId16"/>
    <p:sldLayoutId id="2147483753" r:id="rId17"/>
    <p:sldLayoutId id="2147483754" r:id="rId18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2286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2286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4">
          <p15:clr>
            <a:srgbClr val="F26B43"/>
          </p15:clr>
        </p15:guide>
        <p15:guide id="3" orient="horz" pos="3936">
          <p15:clr>
            <a:srgbClr val="F26B43"/>
          </p15:clr>
        </p15:guide>
        <p15:guide id="4" pos="3840">
          <p15:clr>
            <a:srgbClr val="5ACBF0"/>
          </p15:clr>
        </p15:guide>
        <p15:guide id="5" pos="192">
          <p15:clr>
            <a:srgbClr val="F26B43"/>
          </p15:clr>
        </p15:guide>
        <p15:guide id="6" pos="7488">
          <p15:clr>
            <a:srgbClr val="F26B43"/>
          </p15:clr>
        </p15:guide>
        <p15:guide id="7" orient="horz" pos="2160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Relationship Id="rId5" Type="http://schemas.microsoft.com/office/2007/relationships/hdphoto" Target="../media/hdphoto1.wdp"/><Relationship Id="rId4" Type="http://schemas.openxmlformats.org/officeDocument/2006/relationships/image" Target="../media/image2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2.png"/><Relationship Id="rId5" Type="http://schemas.openxmlformats.org/officeDocument/2006/relationships/image" Target="../media/image22.png"/><Relationship Id="rId4" Type="http://schemas.openxmlformats.org/officeDocument/2006/relationships/image" Target="../media/image31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svg"/><Relationship Id="rId13" Type="http://schemas.openxmlformats.org/officeDocument/2006/relationships/image" Target="../media/image43.png"/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12" Type="http://schemas.openxmlformats.org/officeDocument/2006/relationships/image" Target="../media/image42.sv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6.svg"/><Relationship Id="rId11" Type="http://schemas.openxmlformats.org/officeDocument/2006/relationships/image" Target="../media/image41.png"/><Relationship Id="rId5" Type="http://schemas.openxmlformats.org/officeDocument/2006/relationships/image" Target="../media/image35.png"/><Relationship Id="rId10" Type="http://schemas.openxmlformats.org/officeDocument/2006/relationships/image" Target="../media/image40.svg"/><Relationship Id="rId4" Type="http://schemas.openxmlformats.org/officeDocument/2006/relationships/image" Target="../media/image34.svg"/><Relationship Id="rId9" Type="http://schemas.openxmlformats.org/officeDocument/2006/relationships/image" Target="../media/image39.png"/><Relationship Id="rId14" Type="http://schemas.openxmlformats.org/officeDocument/2006/relationships/image" Target="../media/image44.sv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openxmlformats.org/officeDocument/2006/relationships/image" Target="../media/image55.png"/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12" Type="http://schemas.openxmlformats.org/officeDocument/2006/relationships/image" Target="../media/image54.png"/><Relationship Id="rId17" Type="http://schemas.openxmlformats.org/officeDocument/2006/relationships/image" Target="../media/image59.svg"/><Relationship Id="rId2" Type="http://schemas.openxmlformats.org/officeDocument/2006/relationships/image" Target="../media/image4.png"/><Relationship Id="rId16" Type="http://schemas.openxmlformats.org/officeDocument/2006/relationships/image" Target="../media/image58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48.png"/><Relationship Id="rId11" Type="http://schemas.openxmlformats.org/officeDocument/2006/relationships/image" Target="../media/image53.png"/><Relationship Id="rId5" Type="http://schemas.openxmlformats.org/officeDocument/2006/relationships/image" Target="../media/image47.png"/><Relationship Id="rId15" Type="http://schemas.openxmlformats.org/officeDocument/2006/relationships/image" Target="../media/image57.png"/><Relationship Id="rId10" Type="http://schemas.openxmlformats.org/officeDocument/2006/relationships/image" Target="../media/image52.png"/><Relationship Id="rId4" Type="http://schemas.openxmlformats.org/officeDocument/2006/relationships/image" Target="../media/image46.png"/><Relationship Id="rId9" Type="http://schemas.openxmlformats.org/officeDocument/2006/relationships/image" Target="../media/image51.png"/><Relationship Id="rId14" Type="http://schemas.openxmlformats.org/officeDocument/2006/relationships/image" Target="../media/image56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4DC92AE1-B025-493A-8DBE-F36A4239AE4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F371F20-F932-47D5-BE18-A7B252FE73ED}"/>
              </a:ext>
            </a:extLst>
          </p:cNvPr>
          <p:cNvSpPr txBox="1"/>
          <p:nvPr/>
        </p:nvSpPr>
        <p:spPr>
          <a:xfrm>
            <a:off x="7184572" y="2371357"/>
            <a:ext cx="4519186" cy="18928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Выше</a:t>
            </a:r>
          </a:p>
          <a:p>
            <a:pPr marL="0" marR="0" lvl="0" indent="0" algn="l" defTabSz="9144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эффективность —</a:t>
            </a:r>
          </a:p>
          <a:p>
            <a:pPr marL="0" marR="0" lvl="0" indent="0" algn="l" defTabSz="9144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выше результат!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5F10CAB-D4C0-469D-8CF1-3CC228B9A3E5}"/>
              </a:ext>
            </a:extLst>
          </p:cNvPr>
          <p:cNvSpPr txBox="1"/>
          <p:nvPr/>
        </p:nvSpPr>
        <p:spPr>
          <a:xfrm>
            <a:off x="7184572" y="4309013"/>
            <a:ext cx="405886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С решениями компании «Сингента»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вы получите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МАКСИМУМ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с каждого гектара</a:t>
            </a:r>
          </a:p>
        </p:txBody>
      </p:sp>
    </p:spTree>
    <p:extLst>
      <p:ext uri="{BB962C8B-B14F-4D97-AF65-F5344CB8AC3E}">
        <p14:creationId xmlns:p14="http://schemas.microsoft.com/office/powerpoint/2010/main" val="39138702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3A502D-F665-87DA-697C-E1D5C1A97B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12">
            <a:extLst>
              <a:ext uri="{FF2B5EF4-FFF2-40B4-BE49-F238E27FC236}">
                <a16:creationId xmlns:a16="http://schemas.microsoft.com/office/drawing/2014/main" id="{6BCD06DD-4E67-1F64-D6DF-4DEF94FC49A7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457200" y="6400800"/>
            <a:ext cx="2065020" cy="2520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ts val="186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lassification:</a:t>
            </a:r>
            <a:r>
              <a:rPr kumimoji="0" sz="1000" b="0" i="0" u="none" strike="noStrike" kern="1200" cap="none" spc="-6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UBLIC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F2427CD1-D4A9-0FBA-1A97-CF7F41F7C1D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990600"/>
            <a:ext cx="12192000" cy="518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Задача – получить здоровые и дружные всходы, с заданной густотой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7BA6602-EAC5-2678-3497-399727E4BED7}"/>
              </a:ext>
            </a:extLst>
          </p:cNvPr>
          <p:cNvSpPr txBox="1"/>
          <p:nvPr/>
        </p:nvSpPr>
        <p:spPr>
          <a:xfrm>
            <a:off x="2532668" y="457200"/>
            <a:ext cx="96774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ремя для оценки клубеньков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98BDBB43-B750-88A5-D811-2F9E3C1A505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36779"/>
          <a:stretch/>
        </p:blipFill>
        <p:spPr bwMode="auto">
          <a:xfrm>
            <a:off x="825907" y="1143000"/>
            <a:ext cx="10592425" cy="3581400"/>
          </a:xfrm>
          <a:prstGeom prst="rect">
            <a:avLst/>
          </a:prstGeom>
          <a:noFill/>
        </p:spPr>
      </p:pic>
      <p:sp>
        <p:nvSpPr>
          <p:cNvPr id="6" name="Полилиния: фигура 5">
            <a:extLst>
              <a:ext uri="{FF2B5EF4-FFF2-40B4-BE49-F238E27FC236}">
                <a16:creationId xmlns:a16="http://schemas.microsoft.com/office/drawing/2014/main" id="{32C0AAC3-877C-B858-73CB-8DF683D3EF0B}"/>
              </a:ext>
            </a:extLst>
          </p:cNvPr>
          <p:cNvSpPr/>
          <p:nvPr/>
        </p:nvSpPr>
        <p:spPr>
          <a:xfrm>
            <a:off x="1232810" y="1315160"/>
            <a:ext cx="8787490" cy="1762125"/>
          </a:xfrm>
          <a:custGeom>
            <a:avLst/>
            <a:gdLst>
              <a:gd name="connsiteX0" fmla="*/ 0 w 7116417"/>
              <a:gd name="connsiteY0" fmla="*/ 1762539 h 1762539"/>
              <a:gd name="connsiteX1" fmla="*/ 3220278 w 7116417"/>
              <a:gd name="connsiteY1" fmla="*/ 1417983 h 1762539"/>
              <a:gd name="connsiteX2" fmla="*/ 4916557 w 7116417"/>
              <a:gd name="connsiteY2" fmla="*/ 0 h 1762539"/>
              <a:gd name="connsiteX3" fmla="*/ 6281530 w 7116417"/>
              <a:gd name="connsiteY3" fmla="*/ 1417983 h 1762539"/>
              <a:gd name="connsiteX4" fmla="*/ 7116417 w 7116417"/>
              <a:gd name="connsiteY4" fmla="*/ 1683026 h 17625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16417" h="1762539">
                <a:moveTo>
                  <a:pt x="0" y="1762539"/>
                </a:moveTo>
                <a:cubicBezTo>
                  <a:pt x="1200426" y="1737139"/>
                  <a:pt x="2400852" y="1711740"/>
                  <a:pt x="3220278" y="1417983"/>
                </a:cubicBezTo>
                <a:cubicBezTo>
                  <a:pt x="4039704" y="1124226"/>
                  <a:pt x="4406348" y="0"/>
                  <a:pt x="4916557" y="0"/>
                </a:cubicBezTo>
                <a:cubicBezTo>
                  <a:pt x="5426766" y="0"/>
                  <a:pt x="5914887" y="1137479"/>
                  <a:pt x="6281530" y="1417983"/>
                </a:cubicBezTo>
                <a:cubicBezTo>
                  <a:pt x="6648173" y="1698487"/>
                  <a:pt x="6882295" y="1690756"/>
                  <a:pt x="7116417" y="1683026"/>
                </a:cubicBezTo>
              </a:path>
            </a:pathLst>
          </a:custGeom>
          <a:noFill/>
          <a:ln w="57150">
            <a:solidFill>
              <a:schemeClr val="accent6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ru-RU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1C0EFB5-0553-4F61-414E-4DFFA3F0A7E7}"/>
              </a:ext>
            </a:extLst>
          </p:cNvPr>
          <p:cNvSpPr txBox="1"/>
          <p:nvPr/>
        </p:nvSpPr>
        <p:spPr>
          <a:xfrm>
            <a:off x="1981201" y="5105400"/>
            <a:ext cx="9296400" cy="9864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63500" marR="0" lvl="0" indent="-63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430"/>
              </a:spcAft>
              <a:buClrTx/>
              <a:buSzTx/>
              <a:buFontTx/>
              <a:buNone/>
              <a:tabLst/>
              <a:defRPr/>
            </a:pPr>
            <a:r>
              <a:rPr kumimoji="1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лубеньки нужно учитывать в два этапа на стержневом и боковых корнях:</a:t>
            </a:r>
          </a:p>
          <a:p>
            <a:pPr marL="342900" marR="0" lvl="0" indent="-3429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430"/>
              </a:spcAft>
              <a:buClr>
                <a:srgbClr val="89532E"/>
              </a:buClr>
              <a:buSzPts val="1200"/>
              <a:buFont typeface="+mj-lt"/>
              <a:buAutoNum type="arabicPeriod"/>
              <a:tabLst/>
              <a:defRPr/>
            </a:pPr>
            <a:r>
              <a:rPr kumimoji="1" lang="ru-RU" sz="16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анний осмотр (оценка начала фиксации) в фазу развития V2 </a:t>
            </a:r>
          </a:p>
          <a:p>
            <a:pPr marL="342900" marR="0" lvl="0" indent="-3429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2790"/>
              </a:spcAft>
              <a:buClr>
                <a:srgbClr val="89532E"/>
              </a:buClr>
              <a:buSzPts val="1200"/>
              <a:buFont typeface="+mj-lt"/>
              <a:buAutoNum type="arabicPeriod"/>
              <a:tabLst/>
              <a:defRPr/>
            </a:pPr>
            <a:r>
              <a:rPr kumimoji="1" lang="ru-RU" sz="16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здний осмотр (оценка продолжительности фиксации) в фазу R3-R5 </a:t>
            </a:r>
          </a:p>
        </p:txBody>
      </p:sp>
      <p:sp>
        <p:nvSpPr>
          <p:cNvPr id="9" name="Стрелка: влево-вправо 8">
            <a:extLst>
              <a:ext uri="{FF2B5EF4-FFF2-40B4-BE49-F238E27FC236}">
                <a16:creationId xmlns:a16="http://schemas.microsoft.com/office/drawing/2014/main" id="{6228A74A-1A73-87B4-5FA3-40C3687A7C5D}"/>
              </a:ext>
            </a:extLst>
          </p:cNvPr>
          <p:cNvSpPr/>
          <p:nvPr/>
        </p:nvSpPr>
        <p:spPr>
          <a:xfrm>
            <a:off x="5626555" y="4572000"/>
            <a:ext cx="2993457" cy="167605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ru-RU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Стрелка: влево-вправо 9">
            <a:extLst>
              <a:ext uri="{FF2B5EF4-FFF2-40B4-BE49-F238E27FC236}">
                <a16:creationId xmlns:a16="http://schemas.microsoft.com/office/drawing/2014/main" id="{4897EE75-8C62-427F-3C20-6B4F35F7223A}"/>
              </a:ext>
            </a:extLst>
          </p:cNvPr>
          <p:cNvSpPr/>
          <p:nvPr/>
        </p:nvSpPr>
        <p:spPr>
          <a:xfrm>
            <a:off x="3328738" y="4572000"/>
            <a:ext cx="1079634" cy="167605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ru-RU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91D22CBC-B45D-911E-9F61-BD001A3836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5978" r="91522">
                        <a14:foregroundMark x1="9130" y1="25978" x2="7174" y2="46739"/>
                        <a14:foregroundMark x1="90652" y1="26630" x2="91630" y2="46739"/>
                        <a14:foregroundMark x1="5978" y1="51087" x2="6413" y2="7967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4528" y="4719025"/>
            <a:ext cx="488054" cy="4880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E9DF82D3-61AF-6DEC-DD67-765E08F155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5978" r="91522">
                        <a14:foregroundMark x1="9130" y1="25978" x2="7174" y2="46739"/>
                        <a14:foregroundMark x1="90652" y1="26630" x2="91630" y2="46739"/>
                        <a14:foregroundMark x1="5978" y1="51087" x2="6413" y2="7967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5417" y="4719025"/>
            <a:ext cx="488054" cy="4880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365509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0BB69E-77A1-33E4-9D15-794349584B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12">
            <a:extLst>
              <a:ext uri="{FF2B5EF4-FFF2-40B4-BE49-F238E27FC236}">
                <a16:creationId xmlns:a16="http://schemas.microsoft.com/office/drawing/2014/main" id="{9ECF0411-6E24-88E3-9EAF-C4E458588103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457200" y="6400800"/>
            <a:ext cx="2065020" cy="2520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ts val="186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lassification:</a:t>
            </a:r>
            <a:r>
              <a:rPr kumimoji="0" sz="1000" b="0" i="0" u="none" strike="noStrike" kern="1200" cap="none" spc="-6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UBLIC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727CC679-CACF-4ECB-5E2F-DC54341EF1E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990600"/>
            <a:ext cx="12192000" cy="518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Задача – получить здоровые и дружные всходы, с заданной густотой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C9AEC45-3A67-E1E7-E68D-4353233F00E5}"/>
              </a:ext>
            </a:extLst>
          </p:cNvPr>
          <p:cNvSpPr txBox="1"/>
          <p:nvPr/>
        </p:nvSpPr>
        <p:spPr>
          <a:xfrm>
            <a:off x="2532668" y="457200"/>
            <a:ext cx="96774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Эффективная </a:t>
            </a:r>
            <a:r>
              <a:rPr lang="ru-RU" sz="2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зотофиксация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5AEF6D6-287C-3583-AF5B-D348A5C0ECB4}"/>
              </a:ext>
            </a:extLst>
          </p:cNvPr>
          <p:cNvSpPr txBox="1"/>
          <p:nvPr/>
        </p:nvSpPr>
        <p:spPr>
          <a:xfrm>
            <a:off x="6527321" y="5570253"/>
            <a:ext cx="185451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1" kern="12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,5 л/т</a:t>
            </a:r>
            <a:endParaRPr lang="ru-RU" b="1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10D214F-64F8-5152-9696-24C2BC92C35F}"/>
              </a:ext>
            </a:extLst>
          </p:cNvPr>
          <p:cNvSpPr txBox="1"/>
          <p:nvPr/>
        </p:nvSpPr>
        <p:spPr>
          <a:xfrm>
            <a:off x="1066800" y="5562600"/>
            <a:ext cx="27432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8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ез </a:t>
            </a:r>
            <a:r>
              <a:rPr lang="ru-RU" sz="1800" b="1" dirty="0" err="1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нокулянта</a:t>
            </a:r>
            <a:endParaRPr lang="ru-RU" sz="1800" b="1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DF677F4D-9E83-4CF1-748B-D1100C546B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53109" y="1535154"/>
            <a:ext cx="3944557" cy="3944557"/>
          </a:xfrm>
          <a:prstGeom prst="rect">
            <a:avLst/>
          </a:prstGeom>
        </p:spPr>
      </p:pic>
      <p:pic>
        <p:nvPicPr>
          <p:cNvPr id="20" name="Объект 6">
            <a:extLst>
              <a:ext uri="{FF2B5EF4-FFF2-40B4-BE49-F238E27FC236}">
                <a16:creationId xmlns:a16="http://schemas.microsoft.com/office/drawing/2014/main" id="{B7E7BE18-CC34-F374-5A5C-5A967EA3817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0568" y="1546307"/>
            <a:ext cx="4028566" cy="3944557"/>
          </a:xfrm>
          <a:prstGeom prst="rect">
            <a:avLst/>
          </a:prstGeom>
        </p:spPr>
      </p:pic>
      <p:pic>
        <p:nvPicPr>
          <p:cNvPr id="13" name="Рисунок 12" descr="Изображение выглядит как Графика&#10;&#10;Автоматически созданное описание">
            <a:extLst>
              <a:ext uri="{FF2B5EF4-FFF2-40B4-BE49-F238E27FC236}">
                <a16:creationId xmlns:a16="http://schemas.microsoft.com/office/drawing/2014/main" id="{44DEDB3D-33CD-D60F-2C9F-FE31610D791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1557" y="5590881"/>
            <a:ext cx="1125764" cy="323850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1D4D2E10-E573-469D-F822-49E5F6CA311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6838"/>
          <a:stretch/>
        </p:blipFill>
        <p:spPr>
          <a:xfrm>
            <a:off x="8181502" y="1456735"/>
            <a:ext cx="4028566" cy="402297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357781242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906506-61F7-55D2-05BF-B052514177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12">
            <a:extLst>
              <a:ext uri="{FF2B5EF4-FFF2-40B4-BE49-F238E27FC236}">
                <a16:creationId xmlns:a16="http://schemas.microsoft.com/office/drawing/2014/main" id="{21A39290-7E68-957D-5465-CE1F7D0D4D4A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457200" y="6400800"/>
            <a:ext cx="2065020" cy="2520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ts val="186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lassification:</a:t>
            </a:r>
            <a:r>
              <a:rPr kumimoji="0" sz="1000" b="0" i="0" u="none" strike="noStrike" kern="1200" cap="none" spc="-6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UBLIC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2AA540B-BA42-D57B-79BA-C3D8DB60CD57}"/>
              </a:ext>
            </a:extLst>
          </p:cNvPr>
          <p:cNvSpPr txBox="1"/>
          <p:nvPr/>
        </p:nvSpPr>
        <p:spPr>
          <a:xfrm>
            <a:off x="2057400" y="387533"/>
            <a:ext cx="96774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еимущества инокуляции с АТУВОЙ</a:t>
            </a:r>
            <a:r>
              <a:rPr kumimoji="0" lang="ru-RU" sz="2400" b="1" i="0" u="none" strike="noStrike" kern="1200" cap="none" spc="0" normalizeH="0" baseline="3000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®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A7D14B0-76BB-3CCC-EE4F-1B86F6E9EFBF}"/>
              </a:ext>
            </a:extLst>
          </p:cNvPr>
          <p:cNvSpPr txBox="1"/>
          <p:nvPr/>
        </p:nvSpPr>
        <p:spPr>
          <a:xfrm>
            <a:off x="3848100" y="5429310"/>
            <a:ext cx="4495800" cy="1104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600"/>
              </a:lnSpc>
            </a:pPr>
            <a:r>
              <a:rPr lang="ru-RU" sz="2800" b="1" dirty="0">
                <a:solidFill>
                  <a:schemeClr val="bg1"/>
                </a:solidFill>
              </a:rPr>
              <a:t>Обеспечение сои азотом в критические фазы потребления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72FF16B-BEA4-F92D-8BE1-4B825C520FC5}"/>
              </a:ext>
            </a:extLst>
          </p:cNvPr>
          <p:cNvSpPr txBox="1"/>
          <p:nvPr/>
        </p:nvSpPr>
        <p:spPr>
          <a:xfrm>
            <a:off x="6084609" y="3525741"/>
            <a:ext cx="346585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dirty="0">
                <a:solidFill>
                  <a:srgbClr val="E2E159"/>
                </a:solidFill>
              </a:rPr>
              <a:t>N</a:t>
            </a:r>
            <a:endParaRPr lang="ru-RU" sz="6600" b="1" dirty="0">
              <a:solidFill>
                <a:srgbClr val="E2E159"/>
              </a:solidFill>
            </a:endParaRPr>
          </a:p>
        </p:txBody>
      </p:sp>
      <p:pic>
        <p:nvPicPr>
          <p:cNvPr id="27" name="Рисунок 26" descr="Открытая ладонь с растением со сплошной заливкой">
            <a:extLst>
              <a:ext uri="{FF2B5EF4-FFF2-40B4-BE49-F238E27FC236}">
                <a16:creationId xmlns:a16="http://schemas.microsoft.com/office/drawing/2014/main" id="{940D8975-3890-2E83-0840-787EED64CDB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443765" y="4714292"/>
            <a:ext cx="914400" cy="914400"/>
          </a:xfrm>
          <a:prstGeom prst="rect">
            <a:avLst/>
          </a:prstGeom>
        </p:spPr>
      </p:pic>
      <p:grpSp>
        <p:nvGrpSpPr>
          <p:cNvPr id="28" name="Группа 27">
            <a:extLst>
              <a:ext uri="{FF2B5EF4-FFF2-40B4-BE49-F238E27FC236}">
                <a16:creationId xmlns:a16="http://schemas.microsoft.com/office/drawing/2014/main" id="{72B84D5B-32CC-13D3-85B9-44BE237EA8AD}"/>
              </a:ext>
            </a:extLst>
          </p:cNvPr>
          <p:cNvGrpSpPr/>
          <p:nvPr/>
        </p:nvGrpSpPr>
        <p:grpSpPr>
          <a:xfrm>
            <a:off x="170830" y="2444472"/>
            <a:ext cx="5527041" cy="757555"/>
            <a:chOff x="38089" y="1176895"/>
            <a:chExt cx="5527041" cy="757555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17C4575-B908-1FCE-209F-BBCE110E8358}"/>
                </a:ext>
              </a:extLst>
            </p:cNvPr>
            <p:cNvSpPr txBox="1"/>
            <p:nvPr/>
          </p:nvSpPr>
          <p:spPr>
            <a:xfrm>
              <a:off x="751122" y="1278758"/>
              <a:ext cx="4718536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2800" b="1" dirty="0">
                  <a:solidFill>
                    <a:schemeClr val="bg1"/>
                  </a:solidFill>
                </a:rPr>
                <a:t>Получение высоких урожаев</a:t>
              </a:r>
            </a:p>
          </p:txBody>
        </p:sp>
        <p:pic>
          <p:nvPicPr>
            <p:cNvPr id="18" name="Рисунок 17" descr="Корзина с урожаем со сплошной заливкой">
              <a:extLst>
                <a:ext uri="{FF2B5EF4-FFF2-40B4-BE49-F238E27FC236}">
                  <a16:creationId xmlns:a16="http://schemas.microsoft.com/office/drawing/2014/main" id="{390E9D74-FD1D-BB70-EFA2-589449A3121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8089" y="1313500"/>
              <a:ext cx="608056" cy="608056"/>
            </a:xfrm>
            <a:prstGeom prst="rect">
              <a:avLst/>
            </a:prstGeom>
          </p:spPr>
        </p:pic>
        <p:sp>
          <p:nvSpPr>
            <p:cNvPr id="2" name="object 22">
              <a:extLst>
                <a:ext uri="{FF2B5EF4-FFF2-40B4-BE49-F238E27FC236}">
                  <a16:creationId xmlns:a16="http://schemas.microsoft.com/office/drawing/2014/main" id="{D3996DDD-90A7-E830-E73F-3F37EAB54078}"/>
                </a:ext>
              </a:extLst>
            </p:cNvPr>
            <p:cNvSpPr/>
            <p:nvPr/>
          </p:nvSpPr>
          <p:spPr>
            <a:xfrm>
              <a:off x="712775" y="1176895"/>
              <a:ext cx="4852355" cy="757555"/>
            </a:xfrm>
            <a:custGeom>
              <a:avLst/>
              <a:gdLst/>
              <a:ahLst/>
              <a:cxnLst/>
              <a:rect l="l" t="t" r="r" b="b"/>
              <a:pathLst>
                <a:path w="3333750" h="757554">
                  <a:moveTo>
                    <a:pt x="0" y="126111"/>
                  </a:moveTo>
                  <a:lnTo>
                    <a:pt x="9919" y="76991"/>
                  </a:lnTo>
                  <a:lnTo>
                    <a:pt x="36972" y="36909"/>
                  </a:lnTo>
                  <a:lnTo>
                    <a:pt x="77098" y="9900"/>
                  </a:lnTo>
                  <a:lnTo>
                    <a:pt x="126237" y="0"/>
                  </a:lnTo>
                  <a:lnTo>
                    <a:pt x="3207511" y="0"/>
                  </a:lnTo>
                  <a:lnTo>
                    <a:pt x="3256651" y="9900"/>
                  </a:lnTo>
                  <a:lnTo>
                    <a:pt x="3296777" y="36909"/>
                  </a:lnTo>
                  <a:lnTo>
                    <a:pt x="3323830" y="76991"/>
                  </a:lnTo>
                  <a:lnTo>
                    <a:pt x="3333750" y="126111"/>
                  </a:lnTo>
                  <a:lnTo>
                    <a:pt x="3333750" y="630936"/>
                  </a:lnTo>
                  <a:lnTo>
                    <a:pt x="3323830" y="680075"/>
                  </a:lnTo>
                  <a:lnTo>
                    <a:pt x="3296777" y="720201"/>
                  </a:lnTo>
                  <a:lnTo>
                    <a:pt x="3256651" y="747254"/>
                  </a:lnTo>
                  <a:lnTo>
                    <a:pt x="3207511" y="757174"/>
                  </a:lnTo>
                  <a:lnTo>
                    <a:pt x="126237" y="757174"/>
                  </a:lnTo>
                  <a:lnTo>
                    <a:pt x="77098" y="747254"/>
                  </a:lnTo>
                  <a:lnTo>
                    <a:pt x="36972" y="720201"/>
                  </a:lnTo>
                  <a:lnTo>
                    <a:pt x="9919" y="680075"/>
                  </a:lnTo>
                  <a:lnTo>
                    <a:pt x="0" y="630936"/>
                  </a:lnTo>
                  <a:lnTo>
                    <a:pt x="0" y="126111"/>
                  </a:lnTo>
                  <a:close/>
                </a:path>
              </a:pathLst>
            </a:custGeom>
            <a:ln w="12700">
              <a:solidFill>
                <a:srgbClr val="82C7DC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4DCA37D1-5941-1BDE-027E-33E6291ACC09}"/>
              </a:ext>
            </a:extLst>
          </p:cNvPr>
          <p:cNvGrpSpPr/>
          <p:nvPr/>
        </p:nvGrpSpPr>
        <p:grpSpPr>
          <a:xfrm>
            <a:off x="6048093" y="2462554"/>
            <a:ext cx="5556138" cy="757555"/>
            <a:chOff x="38089" y="2525956"/>
            <a:chExt cx="5556138" cy="757555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87CC706E-E346-55F3-7EC3-11381C47A593}"/>
                </a:ext>
              </a:extLst>
            </p:cNvPr>
            <p:cNvSpPr txBox="1"/>
            <p:nvPr/>
          </p:nvSpPr>
          <p:spPr>
            <a:xfrm>
              <a:off x="751122" y="2606427"/>
              <a:ext cx="447782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2400" b="1" dirty="0">
                  <a:solidFill>
                    <a:schemeClr val="bg1"/>
                  </a:solidFill>
                </a:rPr>
                <a:t>Увеличение сбора протеина с га</a:t>
              </a:r>
            </a:p>
          </p:txBody>
        </p:sp>
        <p:pic>
          <p:nvPicPr>
            <p:cNvPr id="22" name="Рисунок 21" descr="сой со сплошной заливкой">
              <a:extLst>
                <a:ext uri="{FF2B5EF4-FFF2-40B4-BE49-F238E27FC236}">
                  <a16:creationId xmlns:a16="http://schemas.microsoft.com/office/drawing/2014/main" id="{BD7170A3-3647-0C94-8EDB-AE6A25C5644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8089" y="2554109"/>
              <a:ext cx="608056" cy="608056"/>
            </a:xfrm>
            <a:prstGeom prst="rect">
              <a:avLst/>
            </a:prstGeom>
          </p:spPr>
        </p:pic>
        <p:sp>
          <p:nvSpPr>
            <p:cNvPr id="3" name="object 22">
              <a:extLst>
                <a:ext uri="{FF2B5EF4-FFF2-40B4-BE49-F238E27FC236}">
                  <a16:creationId xmlns:a16="http://schemas.microsoft.com/office/drawing/2014/main" id="{167B4585-6A4A-0B37-73FA-2F3D0212CBA2}"/>
                </a:ext>
              </a:extLst>
            </p:cNvPr>
            <p:cNvSpPr/>
            <p:nvPr/>
          </p:nvSpPr>
          <p:spPr>
            <a:xfrm>
              <a:off x="741872" y="2525956"/>
              <a:ext cx="4852355" cy="757555"/>
            </a:xfrm>
            <a:custGeom>
              <a:avLst/>
              <a:gdLst/>
              <a:ahLst/>
              <a:cxnLst/>
              <a:rect l="l" t="t" r="r" b="b"/>
              <a:pathLst>
                <a:path w="3333750" h="757554">
                  <a:moveTo>
                    <a:pt x="0" y="126111"/>
                  </a:moveTo>
                  <a:lnTo>
                    <a:pt x="9919" y="76991"/>
                  </a:lnTo>
                  <a:lnTo>
                    <a:pt x="36972" y="36909"/>
                  </a:lnTo>
                  <a:lnTo>
                    <a:pt x="77098" y="9900"/>
                  </a:lnTo>
                  <a:lnTo>
                    <a:pt x="126237" y="0"/>
                  </a:lnTo>
                  <a:lnTo>
                    <a:pt x="3207511" y="0"/>
                  </a:lnTo>
                  <a:lnTo>
                    <a:pt x="3256651" y="9900"/>
                  </a:lnTo>
                  <a:lnTo>
                    <a:pt x="3296777" y="36909"/>
                  </a:lnTo>
                  <a:lnTo>
                    <a:pt x="3323830" y="76991"/>
                  </a:lnTo>
                  <a:lnTo>
                    <a:pt x="3333750" y="126111"/>
                  </a:lnTo>
                  <a:lnTo>
                    <a:pt x="3333750" y="630936"/>
                  </a:lnTo>
                  <a:lnTo>
                    <a:pt x="3323830" y="680075"/>
                  </a:lnTo>
                  <a:lnTo>
                    <a:pt x="3296777" y="720201"/>
                  </a:lnTo>
                  <a:lnTo>
                    <a:pt x="3256651" y="747254"/>
                  </a:lnTo>
                  <a:lnTo>
                    <a:pt x="3207511" y="757174"/>
                  </a:lnTo>
                  <a:lnTo>
                    <a:pt x="126237" y="757174"/>
                  </a:lnTo>
                  <a:lnTo>
                    <a:pt x="77098" y="747254"/>
                  </a:lnTo>
                  <a:lnTo>
                    <a:pt x="36972" y="720201"/>
                  </a:lnTo>
                  <a:lnTo>
                    <a:pt x="9919" y="680075"/>
                  </a:lnTo>
                  <a:lnTo>
                    <a:pt x="0" y="630936"/>
                  </a:lnTo>
                  <a:lnTo>
                    <a:pt x="0" y="126111"/>
                  </a:lnTo>
                  <a:close/>
                </a:path>
              </a:pathLst>
            </a:custGeom>
            <a:ln w="12700">
              <a:solidFill>
                <a:srgbClr val="82C7DC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EDEF6B37-584C-6ABA-EC9B-C0DD594A768D}"/>
              </a:ext>
            </a:extLst>
          </p:cNvPr>
          <p:cNvGrpSpPr/>
          <p:nvPr/>
        </p:nvGrpSpPr>
        <p:grpSpPr>
          <a:xfrm>
            <a:off x="103644" y="1170914"/>
            <a:ext cx="5594227" cy="827849"/>
            <a:chOff x="0" y="3876843"/>
            <a:chExt cx="5594227" cy="827849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1926951A-3FFC-5057-F99E-8BE38CB16500}"/>
                </a:ext>
              </a:extLst>
            </p:cNvPr>
            <p:cNvSpPr txBox="1"/>
            <p:nvPr/>
          </p:nvSpPr>
          <p:spPr>
            <a:xfrm>
              <a:off x="751122" y="3934096"/>
              <a:ext cx="4718536" cy="7705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800" b="1" dirty="0">
                  <a:solidFill>
                    <a:schemeClr val="bg1"/>
                  </a:solidFill>
                </a:rPr>
                <a:t>Снижение затрат на покупку азотных удобрений</a:t>
              </a:r>
            </a:p>
          </p:txBody>
        </p:sp>
        <p:pic>
          <p:nvPicPr>
            <p:cNvPr id="24" name="Рисунок 23" descr="Монеты контур">
              <a:extLst>
                <a:ext uri="{FF2B5EF4-FFF2-40B4-BE49-F238E27FC236}">
                  <a16:creationId xmlns:a16="http://schemas.microsoft.com/office/drawing/2014/main" id="{449FDFC7-3FAA-44F2-2FD8-E67006E4203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0" y="3876843"/>
              <a:ext cx="793439" cy="793439"/>
            </a:xfrm>
            <a:prstGeom prst="rect">
              <a:avLst/>
            </a:prstGeom>
          </p:spPr>
        </p:pic>
        <p:sp>
          <p:nvSpPr>
            <p:cNvPr id="5" name="object 22">
              <a:extLst>
                <a:ext uri="{FF2B5EF4-FFF2-40B4-BE49-F238E27FC236}">
                  <a16:creationId xmlns:a16="http://schemas.microsoft.com/office/drawing/2014/main" id="{314DBDFC-356C-9650-74DA-B7E959C4491D}"/>
                </a:ext>
              </a:extLst>
            </p:cNvPr>
            <p:cNvSpPr/>
            <p:nvPr/>
          </p:nvSpPr>
          <p:spPr>
            <a:xfrm>
              <a:off x="741872" y="3947137"/>
              <a:ext cx="4852355" cy="757555"/>
            </a:xfrm>
            <a:custGeom>
              <a:avLst/>
              <a:gdLst/>
              <a:ahLst/>
              <a:cxnLst/>
              <a:rect l="l" t="t" r="r" b="b"/>
              <a:pathLst>
                <a:path w="3333750" h="757554">
                  <a:moveTo>
                    <a:pt x="0" y="126111"/>
                  </a:moveTo>
                  <a:lnTo>
                    <a:pt x="9919" y="76991"/>
                  </a:lnTo>
                  <a:lnTo>
                    <a:pt x="36972" y="36909"/>
                  </a:lnTo>
                  <a:lnTo>
                    <a:pt x="77098" y="9900"/>
                  </a:lnTo>
                  <a:lnTo>
                    <a:pt x="126237" y="0"/>
                  </a:lnTo>
                  <a:lnTo>
                    <a:pt x="3207511" y="0"/>
                  </a:lnTo>
                  <a:lnTo>
                    <a:pt x="3256651" y="9900"/>
                  </a:lnTo>
                  <a:lnTo>
                    <a:pt x="3296777" y="36909"/>
                  </a:lnTo>
                  <a:lnTo>
                    <a:pt x="3323830" y="76991"/>
                  </a:lnTo>
                  <a:lnTo>
                    <a:pt x="3333750" y="126111"/>
                  </a:lnTo>
                  <a:lnTo>
                    <a:pt x="3333750" y="630936"/>
                  </a:lnTo>
                  <a:lnTo>
                    <a:pt x="3323830" y="680075"/>
                  </a:lnTo>
                  <a:lnTo>
                    <a:pt x="3296777" y="720201"/>
                  </a:lnTo>
                  <a:lnTo>
                    <a:pt x="3256651" y="747254"/>
                  </a:lnTo>
                  <a:lnTo>
                    <a:pt x="3207511" y="757174"/>
                  </a:lnTo>
                  <a:lnTo>
                    <a:pt x="126237" y="757174"/>
                  </a:lnTo>
                  <a:lnTo>
                    <a:pt x="77098" y="747254"/>
                  </a:lnTo>
                  <a:lnTo>
                    <a:pt x="36972" y="720201"/>
                  </a:lnTo>
                  <a:lnTo>
                    <a:pt x="9919" y="680075"/>
                  </a:lnTo>
                  <a:lnTo>
                    <a:pt x="0" y="630936"/>
                  </a:lnTo>
                  <a:lnTo>
                    <a:pt x="0" y="126111"/>
                  </a:lnTo>
                  <a:close/>
                </a:path>
              </a:pathLst>
            </a:custGeom>
            <a:ln w="12700">
              <a:solidFill>
                <a:srgbClr val="82C7DC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30" name="Группа 29">
            <a:extLst>
              <a:ext uri="{FF2B5EF4-FFF2-40B4-BE49-F238E27FC236}">
                <a16:creationId xmlns:a16="http://schemas.microsoft.com/office/drawing/2014/main" id="{9AED11EA-5862-C654-F1BE-1F7ADB6A1536}"/>
              </a:ext>
            </a:extLst>
          </p:cNvPr>
          <p:cNvGrpSpPr/>
          <p:nvPr/>
        </p:nvGrpSpPr>
        <p:grpSpPr>
          <a:xfrm>
            <a:off x="6743332" y="3693737"/>
            <a:ext cx="4953000" cy="835751"/>
            <a:chOff x="6750623" y="1213603"/>
            <a:chExt cx="4953000" cy="835751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88252AB-B1C7-C71A-F905-A04950418BDE}"/>
                </a:ext>
              </a:extLst>
            </p:cNvPr>
            <p:cNvSpPr txBox="1"/>
            <p:nvPr/>
          </p:nvSpPr>
          <p:spPr>
            <a:xfrm>
              <a:off x="6750623" y="1278758"/>
              <a:ext cx="4953000" cy="7705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800" b="1" dirty="0">
                  <a:solidFill>
                    <a:schemeClr val="bg1"/>
                  </a:solidFill>
                </a:rPr>
                <a:t>Биологическое обогащение почвы азотом</a:t>
              </a:r>
            </a:p>
          </p:txBody>
        </p:sp>
        <p:sp>
          <p:nvSpPr>
            <p:cNvPr id="8" name="object 22">
              <a:extLst>
                <a:ext uri="{FF2B5EF4-FFF2-40B4-BE49-F238E27FC236}">
                  <a16:creationId xmlns:a16="http://schemas.microsoft.com/office/drawing/2014/main" id="{81B56DB3-557C-2D11-FBC2-61DAA6858C9B}"/>
                </a:ext>
              </a:extLst>
            </p:cNvPr>
            <p:cNvSpPr/>
            <p:nvPr/>
          </p:nvSpPr>
          <p:spPr>
            <a:xfrm>
              <a:off x="6800945" y="1213603"/>
              <a:ext cx="4852355" cy="757555"/>
            </a:xfrm>
            <a:custGeom>
              <a:avLst/>
              <a:gdLst/>
              <a:ahLst/>
              <a:cxnLst/>
              <a:rect l="l" t="t" r="r" b="b"/>
              <a:pathLst>
                <a:path w="3333750" h="757554">
                  <a:moveTo>
                    <a:pt x="0" y="126111"/>
                  </a:moveTo>
                  <a:lnTo>
                    <a:pt x="9919" y="76991"/>
                  </a:lnTo>
                  <a:lnTo>
                    <a:pt x="36972" y="36909"/>
                  </a:lnTo>
                  <a:lnTo>
                    <a:pt x="77098" y="9900"/>
                  </a:lnTo>
                  <a:lnTo>
                    <a:pt x="126237" y="0"/>
                  </a:lnTo>
                  <a:lnTo>
                    <a:pt x="3207511" y="0"/>
                  </a:lnTo>
                  <a:lnTo>
                    <a:pt x="3256651" y="9900"/>
                  </a:lnTo>
                  <a:lnTo>
                    <a:pt x="3296777" y="36909"/>
                  </a:lnTo>
                  <a:lnTo>
                    <a:pt x="3323830" y="76991"/>
                  </a:lnTo>
                  <a:lnTo>
                    <a:pt x="3333750" y="126111"/>
                  </a:lnTo>
                  <a:lnTo>
                    <a:pt x="3333750" y="630936"/>
                  </a:lnTo>
                  <a:lnTo>
                    <a:pt x="3323830" y="680075"/>
                  </a:lnTo>
                  <a:lnTo>
                    <a:pt x="3296777" y="720201"/>
                  </a:lnTo>
                  <a:lnTo>
                    <a:pt x="3256651" y="747254"/>
                  </a:lnTo>
                  <a:lnTo>
                    <a:pt x="3207511" y="757174"/>
                  </a:lnTo>
                  <a:lnTo>
                    <a:pt x="126237" y="757174"/>
                  </a:lnTo>
                  <a:lnTo>
                    <a:pt x="77098" y="747254"/>
                  </a:lnTo>
                  <a:lnTo>
                    <a:pt x="36972" y="720201"/>
                  </a:lnTo>
                  <a:lnTo>
                    <a:pt x="9919" y="680075"/>
                  </a:lnTo>
                  <a:lnTo>
                    <a:pt x="0" y="630936"/>
                  </a:lnTo>
                  <a:lnTo>
                    <a:pt x="0" y="126111"/>
                  </a:lnTo>
                  <a:close/>
                </a:path>
              </a:pathLst>
            </a:custGeom>
            <a:ln w="12700">
              <a:solidFill>
                <a:srgbClr val="82C7DC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32" name="Группа 31">
            <a:extLst>
              <a:ext uri="{FF2B5EF4-FFF2-40B4-BE49-F238E27FC236}">
                <a16:creationId xmlns:a16="http://schemas.microsoft.com/office/drawing/2014/main" id="{B3EE3FB1-8EBC-4556-FC86-6CFFC6C72BAD}"/>
              </a:ext>
            </a:extLst>
          </p:cNvPr>
          <p:cNvGrpSpPr/>
          <p:nvPr/>
        </p:nvGrpSpPr>
        <p:grpSpPr>
          <a:xfrm>
            <a:off x="17037" y="3684422"/>
            <a:ext cx="6132192" cy="949315"/>
            <a:chOff x="5950034" y="2525956"/>
            <a:chExt cx="6132192" cy="949315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2DF0DD6-4567-8B59-E9B2-07744BA32B6D}"/>
                </a:ext>
              </a:extLst>
            </p:cNvPr>
            <p:cNvSpPr txBox="1"/>
            <p:nvPr/>
          </p:nvSpPr>
          <p:spPr>
            <a:xfrm>
              <a:off x="6750623" y="2562643"/>
              <a:ext cx="5331603" cy="7705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800" b="1" dirty="0">
                  <a:solidFill>
                    <a:schemeClr val="bg1"/>
                  </a:solidFill>
                </a:rPr>
                <a:t>Высокая совместимость </a:t>
              </a:r>
              <a:r>
                <a:rPr lang="ru-RU" sz="2800" b="1" dirty="0" err="1">
                  <a:solidFill>
                    <a:schemeClr val="bg1"/>
                  </a:solidFill>
                </a:rPr>
                <a:t>инокулянта</a:t>
              </a:r>
              <a:r>
                <a:rPr lang="ru-RU" sz="2800" b="1" dirty="0">
                  <a:solidFill>
                    <a:schemeClr val="bg1"/>
                  </a:solidFill>
                </a:rPr>
                <a:t> с СЗР</a:t>
              </a:r>
            </a:p>
          </p:txBody>
        </p:sp>
        <p:pic>
          <p:nvPicPr>
            <p:cNvPr id="31" name="Рисунок 30" descr="Комментарий &quot;Сердце&quot; со сплошной заливкой">
              <a:extLst>
                <a:ext uri="{FF2B5EF4-FFF2-40B4-BE49-F238E27FC236}">
                  <a16:creationId xmlns:a16="http://schemas.microsoft.com/office/drawing/2014/main" id="{03C2315F-3B92-7FFB-2525-BFDECAD7058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5950034" y="2560871"/>
              <a:ext cx="914400" cy="914400"/>
            </a:xfrm>
            <a:prstGeom prst="rect">
              <a:avLst/>
            </a:prstGeom>
          </p:spPr>
        </p:pic>
        <p:sp>
          <p:nvSpPr>
            <p:cNvPr id="12" name="object 22">
              <a:extLst>
                <a:ext uri="{FF2B5EF4-FFF2-40B4-BE49-F238E27FC236}">
                  <a16:creationId xmlns:a16="http://schemas.microsoft.com/office/drawing/2014/main" id="{3CA542A9-7766-8075-8E12-A755DA4FBD66}"/>
                </a:ext>
              </a:extLst>
            </p:cNvPr>
            <p:cNvSpPr/>
            <p:nvPr/>
          </p:nvSpPr>
          <p:spPr>
            <a:xfrm>
              <a:off x="6761965" y="2525956"/>
              <a:ext cx="4852355" cy="757555"/>
            </a:xfrm>
            <a:custGeom>
              <a:avLst/>
              <a:gdLst/>
              <a:ahLst/>
              <a:cxnLst/>
              <a:rect l="l" t="t" r="r" b="b"/>
              <a:pathLst>
                <a:path w="3333750" h="757554">
                  <a:moveTo>
                    <a:pt x="0" y="126111"/>
                  </a:moveTo>
                  <a:lnTo>
                    <a:pt x="9919" y="76991"/>
                  </a:lnTo>
                  <a:lnTo>
                    <a:pt x="36972" y="36909"/>
                  </a:lnTo>
                  <a:lnTo>
                    <a:pt x="77098" y="9900"/>
                  </a:lnTo>
                  <a:lnTo>
                    <a:pt x="126237" y="0"/>
                  </a:lnTo>
                  <a:lnTo>
                    <a:pt x="3207511" y="0"/>
                  </a:lnTo>
                  <a:lnTo>
                    <a:pt x="3256651" y="9900"/>
                  </a:lnTo>
                  <a:lnTo>
                    <a:pt x="3296777" y="36909"/>
                  </a:lnTo>
                  <a:lnTo>
                    <a:pt x="3323830" y="76991"/>
                  </a:lnTo>
                  <a:lnTo>
                    <a:pt x="3333750" y="126111"/>
                  </a:lnTo>
                  <a:lnTo>
                    <a:pt x="3333750" y="630936"/>
                  </a:lnTo>
                  <a:lnTo>
                    <a:pt x="3323830" y="680075"/>
                  </a:lnTo>
                  <a:lnTo>
                    <a:pt x="3296777" y="720201"/>
                  </a:lnTo>
                  <a:lnTo>
                    <a:pt x="3256651" y="747254"/>
                  </a:lnTo>
                  <a:lnTo>
                    <a:pt x="3207511" y="757174"/>
                  </a:lnTo>
                  <a:lnTo>
                    <a:pt x="126237" y="757174"/>
                  </a:lnTo>
                  <a:lnTo>
                    <a:pt x="77098" y="747254"/>
                  </a:lnTo>
                  <a:lnTo>
                    <a:pt x="36972" y="720201"/>
                  </a:lnTo>
                  <a:lnTo>
                    <a:pt x="9919" y="680075"/>
                  </a:lnTo>
                  <a:lnTo>
                    <a:pt x="0" y="630936"/>
                  </a:lnTo>
                  <a:lnTo>
                    <a:pt x="0" y="126111"/>
                  </a:lnTo>
                  <a:close/>
                </a:path>
              </a:pathLst>
            </a:custGeom>
            <a:ln w="12700">
              <a:solidFill>
                <a:srgbClr val="82C7DC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33" name="Группа 32">
            <a:extLst>
              <a:ext uri="{FF2B5EF4-FFF2-40B4-BE49-F238E27FC236}">
                <a16:creationId xmlns:a16="http://schemas.microsoft.com/office/drawing/2014/main" id="{7165C49B-0ABA-AB1C-C2E9-919849AEC85B}"/>
              </a:ext>
            </a:extLst>
          </p:cNvPr>
          <p:cNvGrpSpPr/>
          <p:nvPr/>
        </p:nvGrpSpPr>
        <p:grpSpPr>
          <a:xfrm>
            <a:off x="5900965" y="1170914"/>
            <a:ext cx="7346062" cy="914400"/>
            <a:chOff x="5950034" y="3855447"/>
            <a:chExt cx="7346062" cy="914400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4A9DB2AC-E663-C7B4-E9FE-47DECA73244A}"/>
                </a:ext>
              </a:extLst>
            </p:cNvPr>
            <p:cNvSpPr txBox="1"/>
            <p:nvPr/>
          </p:nvSpPr>
          <p:spPr>
            <a:xfrm>
              <a:off x="6800945" y="3960818"/>
              <a:ext cx="6495151" cy="7591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2600"/>
                </a:lnSpc>
              </a:pPr>
              <a:r>
                <a:rPr lang="ru-RU" sz="2000" b="1" dirty="0">
                  <a:solidFill>
                    <a:schemeClr val="bg1"/>
                  </a:solidFill>
                </a:rPr>
                <a:t>Освобождение техники и человеческих </a:t>
              </a:r>
            </a:p>
            <a:p>
              <a:pPr>
                <a:lnSpc>
                  <a:spcPts val="2600"/>
                </a:lnSpc>
              </a:pPr>
              <a:r>
                <a:rPr lang="ru-RU" sz="2000" b="1" dirty="0">
                  <a:solidFill>
                    <a:schemeClr val="bg1"/>
                  </a:solidFill>
                </a:rPr>
                <a:t>ресурсов на внесение удобрений</a:t>
              </a:r>
            </a:p>
          </p:txBody>
        </p:sp>
        <p:pic>
          <p:nvPicPr>
            <p:cNvPr id="29" name="Рисунок 28" descr="Трактор со сплошной заливкой">
              <a:extLst>
                <a:ext uri="{FF2B5EF4-FFF2-40B4-BE49-F238E27FC236}">
                  <a16:creationId xmlns:a16="http://schemas.microsoft.com/office/drawing/2014/main" id="{6D80BC64-0D29-563A-BA34-D71230C0BD5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5950034" y="3855447"/>
              <a:ext cx="914400" cy="914400"/>
            </a:xfrm>
            <a:prstGeom prst="rect">
              <a:avLst/>
            </a:prstGeom>
          </p:spPr>
        </p:pic>
        <p:sp>
          <p:nvSpPr>
            <p:cNvPr id="19" name="object 22">
              <a:extLst>
                <a:ext uri="{FF2B5EF4-FFF2-40B4-BE49-F238E27FC236}">
                  <a16:creationId xmlns:a16="http://schemas.microsoft.com/office/drawing/2014/main" id="{5D3B2FDF-4A9E-5DAA-E4BB-0386B21ABA83}"/>
                </a:ext>
              </a:extLst>
            </p:cNvPr>
            <p:cNvSpPr/>
            <p:nvPr/>
          </p:nvSpPr>
          <p:spPr>
            <a:xfrm>
              <a:off x="6800945" y="3930088"/>
              <a:ext cx="4852355" cy="757555"/>
            </a:xfrm>
            <a:custGeom>
              <a:avLst/>
              <a:gdLst/>
              <a:ahLst/>
              <a:cxnLst/>
              <a:rect l="l" t="t" r="r" b="b"/>
              <a:pathLst>
                <a:path w="3333750" h="757554">
                  <a:moveTo>
                    <a:pt x="0" y="126111"/>
                  </a:moveTo>
                  <a:lnTo>
                    <a:pt x="9919" y="76991"/>
                  </a:lnTo>
                  <a:lnTo>
                    <a:pt x="36972" y="36909"/>
                  </a:lnTo>
                  <a:lnTo>
                    <a:pt x="77098" y="9900"/>
                  </a:lnTo>
                  <a:lnTo>
                    <a:pt x="126237" y="0"/>
                  </a:lnTo>
                  <a:lnTo>
                    <a:pt x="3207511" y="0"/>
                  </a:lnTo>
                  <a:lnTo>
                    <a:pt x="3256651" y="9900"/>
                  </a:lnTo>
                  <a:lnTo>
                    <a:pt x="3296777" y="36909"/>
                  </a:lnTo>
                  <a:lnTo>
                    <a:pt x="3323830" y="76991"/>
                  </a:lnTo>
                  <a:lnTo>
                    <a:pt x="3333750" y="126111"/>
                  </a:lnTo>
                  <a:lnTo>
                    <a:pt x="3333750" y="630936"/>
                  </a:lnTo>
                  <a:lnTo>
                    <a:pt x="3323830" y="680075"/>
                  </a:lnTo>
                  <a:lnTo>
                    <a:pt x="3296777" y="720201"/>
                  </a:lnTo>
                  <a:lnTo>
                    <a:pt x="3256651" y="747254"/>
                  </a:lnTo>
                  <a:lnTo>
                    <a:pt x="3207511" y="757174"/>
                  </a:lnTo>
                  <a:lnTo>
                    <a:pt x="126237" y="757174"/>
                  </a:lnTo>
                  <a:lnTo>
                    <a:pt x="77098" y="747254"/>
                  </a:lnTo>
                  <a:lnTo>
                    <a:pt x="36972" y="720201"/>
                  </a:lnTo>
                  <a:lnTo>
                    <a:pt x="9919" y="680075"/>
                  </a:lnTo>
                  <a:lnTo>
                    <a:pt x="0" y="630936"/>
                  </a:lnTo>
                  <a:lnTo>
                    <a:pt x="0" y="126111"/>
                  </a:lnTo>
                  <a:close/>
                </a:path>
              </a:pathLst>
            </a:custGeom>
            <a:ln w="12700">
              <a:solidFill>
                <a:srgbClr val="82C7DC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0" name="object 22">
            <a:extLst>
              <a:ext uri="{FF2B5EF4-FFF2-40B4-BE49-F238E27FC236}">
                <a16:creationId xmlns:a16="http://schemas.microsoft.com/office/drawing/2014/main" id="{1370AE27-CAD4-9BEC-4DBE-5A1C3BCF0FD6}"/>
              </a:ext>
            </a:extLst>
          </p:cNvPr>
          <p:cNvSpPr/>
          <p:nvPr/>
        </p:nvSpPr>
        <p:spPr>
          <a:xfrm>
            <a:off x="3697148" y="5444618"/>
            <a:ext cx="4852355" cy="1104020"/>
          </a:xfrm>
          <a:custGeom>
            <a:avLst/>
            <a:gdLst/>
            <a:ahLst/>
            <a:cxnLst/>
            <a:rect l="l" t="t" r="r" b="b"/>
            <a:pathLst>
              <a:path w="3333750" h="757554">
                <a:moveTo>
                  <a:pt x="0" y="126111"/>
                </a:moveTo>
                <a:lnTo>
                  <a:pt x="9919" y="76991"/>
                </a:lnTo>
                <a:lnTo>
                  <a:pt x="36972" y="36909"/>
                </a:lnTo>
                <a:lnTo>
                  <a:pt x="77098" y="9900"/>
                </a:lnTo>
                <a:lnTo>
                  <a:pt x="126237" y="0"/>
                </a:lnTo>
                <a:lnTo>
                  <a:pt x="3207511" y="0"/>
                </a:lnTo>
                <a:lnTo>
                  <a:pt x="3256651" y="9900"/>
                </a:lnTo>
                <a:lnTo>
                  <a:pt x="3296777" y="36909"/>
                </a:lnTo>
                <a:lnTo>
                  <a:pt x="3323830" y="76991"/>
                </a:lnTo>
                <a:lnTo>
                  <a:pt x="3333750" y="126111"/>
                </a:lnTo>
                <a:lnTo>
                  <a:pt x="3333750" y="630936"/>
                </a:lnTo>
                <a:lnTo>
                  <a:pt x="3323830" y="680075"/>
                </a:lnTo>
                <a:lnTo>
                  <a:pt x="3296777" y="720201"/>
                </a:lnTo>
                <a:lnTo>
                  <a:pt x="3256651" y="747254"/>
                </a:lnTo>
                <a:lnTo>
                  <a:pt x="3207511" y="757174"/>
                </a:lnTo>
                <a:lnTo>
                  <a:pt x="126237" y="757174"/>
                </a:lnTo>
                <a:lnTo>
                  <a:pt x="77098" y="747254"/>
                </a:lnTo>
                <a:lnTo>
                  <a:pt x="36972" y="720201"/>
                </a:lnTo>
                <a:lnTo>
                  <a:pt x="9919" y="680075"/>
                </a:lnTo>
                <a:lnTo>
                  <a:pt x="0" y="630936"/>
                </a:lnTo>
                <a:lnTo>
                  <a:pt x="0" y="126111"/>
                </a:lnTo>
                <a:close/>
              </a:path>
            </a:pathLst>
          </a:custGeom>
          <a:ln w="12700">
            <a:solidFill>
              <a:srgbClr val="82C7DC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81766606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2430780" y="32149"/>
            <a:ext cx="9761220" cy="6857998"/>
            <a:chOff x="2760306" y="2504611"/>
            <a:chExt cx="9761220" cy="6857998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8584780" y="2504611"/>
              <a:ext cx="3936746" cy="6857998"/>
            </a:xfrm>
            <a:prstGeom prst="rect">
              <a:avLst/>
            </a:prstGeom>
          </p:spPr>
        </p:pic>
        <p:pic>
          <p:nvPicPr>
            <p:cNvPr id="4" name="object 4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2760306" y="3423748"/>
              <a:ext cx="7330440" cy="1322832"/>
            </a:xfrm>
            <a:prstGeom prst="rect">
              <a:avLst/>
            </a:prstGeom>
          </p:spPr>
        </p:pic>
        <p:sp>
          <p:nvSpPr>
            <p:cNvPr id="5" name="object 5"/>
            <p:cNvSpPr/>
            <p:nvPr/>
          </p:nvSpPr>
          <p:spPr>
            <a:xfrm>
              <a:off x="6265976" y="5162968"/>
              <a:ext cx="2015489" cy="698500"/>
            </a:xfrm>
            <a:custGeom>
              <a:avLst/>
              <a:gdLst/>
              <a:ahLst/>
              <a:cxnLst/>
              <a:rect l="l" t="t" r="r" b="b"/>
              <a:pathLst>
                <a:path w="2015490" h="698500">
                  <a:moveTo>
                    <a:pt x="273354" y="140982"/>
                  </a:moveTo>
                  <a:lnTo>
                    <a:pt x="267271" y="111036"/>
                  </a:lnTo>
                  <a:lnTo>
                    <a:pt x="261226" y="102120"/>
                  </a:lnTo>
                  <a:lnTo>
                    <a:pt x="261226" y="140982"/>
                  </a:lnTo>
                  <a:lnTo>
                    <a:pt x="261226" y="259842"/>
                  </a:lnTo>
                  <a:lnTo>
                    <a:pt x="256108" y="285102"/>
                  </a:lnTo>
                  <a:lnTo>
                    <a:pt x="242150" y="305752"/>
                  </a:lnTo>
                  <a:lnTo>
                    <a:pt x="221462" y="319684"/>
                  </a:lnTo>
                  <a:lnTo>
                    <a:pt x="196138" y="324802"/>
                  </a:lnTo>
                  <a:lnTo>
                    <a:pt x="77127" y="324802"/>
                  </a:lnTo>
                  <a:lnTo>
                    <a:pt x="51866" y="319684"/>
                  </a:lnTo>
                  <a:lnTo>
                    <a:pt x="31203" y="305752"/>
                  </a:lnTo>
                  <a:lnTo>
                    <a:pt x="17246" y="285102"/>
                  </a:lnTo>
                  <a:lnTo>
                    <a:pt x="12128" y="259842"/>
                  </a:lnTo>
                  <a:lnTo>
                    <a:pt x="12128" y="140982"/>
                  </a:lnTo>
                  <a:lnTo>
                    <a:pt x="17246" y="115722"/>
                  </a:lnTo>
                  <a:lnTo>
                    <a:pt x="31203" y="95084"/>
                  </a:lnTo>
                  <a:lnTo>
                    <a:pt x="51866" y="81165"/>
                  </a:lnTo>
                  <a:lnTo>
                    <a:pt x="77127" y="76047"/>
                  </a:lnTo>
                  <a:lnTo>
                    <a:pt x="196138" y="76047"/>
                  </a:lnTo>
                  <a:lnTo>
                    <a:pt x="221462" y="81165"/>
                  </a:lnTo>
                  <a:lnTo>
                    <a:pt x="242150" y="95084"/>
                  </a:lnTo>
                  <a:lnTo>
                    <a:pt x="256108" y="115722"/>
                  </a:lnTo>
                  <a:lnTo>
                    <a:pt x="261226" y="140982"/>
                  </a:lnTo>
                  <a:lnTo>
                    <a:pt x="261226" y="102120"/>
                  </a:lnTo>
                  <a:lnTo>
                    <a:pt x="250698" y="86563"/>
                  </a:lnTo>
                  <a:lnTo>
                    <a:pt x="235077" y="76047"/>
                  </a:lnTo>
                  <a:lnTo>
                    <a:pt x="226148" y="70053"/>
                  </a:lnTo>
                  <a:lnTo>
                    <a:pt x="196138" y="63995"/>
                  </a:lnTo>
                  <a:lnTo>
                    <a:pt x="77127" y="63995"/>
                  </a:lnTo>
                  <a:lnTo>
                    <a:pt x="47129" y="70053"/>
                  </a:lnTo>
                  <a:lnTo>
                    <a:pt x="22618" y="86563"/>
                  </a:lnTo>
                  <a:lnTo>
                    <a:pt x="6070" y="111036"/>
                  </a:lnTo>
                  <a:lnTo>
                    <a:pt x="0" y="140982"/>
                  </a:lnTo>
                  <a:lnTo>
                    <a:pt x="0" y="259842"/>
                  </a:lnTo>
                  <a:lnTo>
                    <a:pt x="6070" y="289814"/>
                  </a:lnTo>
                  <a:lnTo>
                    <a:pt x="22618" y="314299"/>
                  </a:lnTo>
                  <a:lnTo>
                    <a:pt x="47129" y="330809"/>
                  </a:lnTo>
                  <a:lnTo>
                    <a:pt x="77127" y="336867"/>
                  </a:lnTo>
                  <a:lnTo>
                    <a:pt x="196138" y="336867"/>
                  </a:lnTo>
                  <a:lnTo>
                    <a:pt x="235089" y="324802"/>
                  </a:lnTo>
                  <a:lnTo>
                    <a:pt x="267271" y="289814"/>
                  </a:lnTo>
                  <a:lnTo>
                    <a:pt x="273354" y="259842"/>
                  </a:lnTo>
                  <a:lnTo>
                    <a:pt x="273354" y="140982"/>
                  </a:lnTo>
                  <a:close/>
                </a:path>
                <a:path w="2015490" h="698500">
                  <a:moveTo>
                    <a:pt x="582434" y="140982"/>
                  </a:moveTo>
                  <a:lnTo>
                    <a:pt x="576364" y="111036"/>
                  </a:lnTo>
                  <a:lnTo>
                    <a:pt x="570395" y="102209"/>
                  </a:lnTo>
                  <a:lnTo>
                    <a:pt x="570395" y="140982"/>
                  </a:lnTo>
                  <a:lnTo>
                    <a:pt x="570395" y="259842"/>
                  </a:lnTo>
                  <a:lnTo>
                    <a:pt x="565277" y="285102"/>
                  </a:lnTo>
                  <a:lnTo>
                    <a:pt x="551319" y="305752"/>
                  </a:lnTo>
                  <a:lnTo>
                    <a:pt x="530618" y="319684"/>
                  </a:lnTo>
                  <a:lnTo>
                    <a:pt x="505307" y="324802"/>
                  </a:lnTo>
                  <a:lnTo>
                    <a:pt x="386295" y="324802"/>
                  </a:lnTo>
                  <a:lnTo>
                    <a:pt x="361035" y="319684"/>
                  </a:lnTo>
                  <a:lnTo>
                    <a:pt x="340372" y="305752"/>
                  </a:lnTo>
                  <a:lnTo>
                    <a:pt x="326415" y="285102"/>
                  </a:lnTo>
                  <a:lnTo>
                    <a:pt x="321297" y="259842"/>
                  </a:lnTo>
                  <a:lnTo>
                    <a:pt x="321297" y="140982"/>
                  </a:lnTo>
                  <a:lnTo>
                    <a:pt x="326415" y="115722"/>
                  </a:lnTo>
                  <a:lnTo>
                    <a:pt x="340372" y="95084"/>
                  </a:lnTo>
                  <a:lnTo>
                    <a:pt x="361035" y="81165"/>
                  </a:lnTo>
                  <a:lnTo>
                    <a:pt x="386295" y="76047"/>
                  </a:lnTo>
                  <a:lnTo>
                    <a:pt x="505307" y="76047"/>
                  </a:lnTo>
                  <a:lnTo>
                    <a:pt x="530618" y="81165"/>
                  </a:lnTo>
                  <a:lnTo>
                    <a:pt x="551319" y="95084"/>
                  </a:lnTo>
                  <a:lnTo>
                    <a:pt x="565277" y="115722"/>
                  </a:lnTo>
                  <a:lnTo>
                    <a:pt x="570395" y="140982"/>
                  </a:lnTo>
                  <a:lnTo>
                    <a:pt x="570395" y="102209"/>
                  </a:lnTo>
                  <a:lnTo>
                    <a:pt x="559816" y="86563"/>
                  </a:lnTo>
                  <a:lnTo>
                    <a:pt x="544207" y="76047"/>
                  </a:lnTo>
                  <a:lnTo>
                    <a:pt x="535305" y="70053"/>
                  </a:lnTo>
                  <a:lnTo>
                    <a:pt x="505307" y="63995"/>
                  </a:lnTo>
                  <a:lnTo>
                    <a:pt x="386295" y="63995"/>
                  </a:lnTo>
                  <a:lnTo>
                    <a:pt x="356298" y="70053"/>
                  </a:lnTo>
                  <a:lnTo>
                    <a:pt x="331787" y="86563"/>
                  </a:lnTo>
                  <a:lnTo>
                    <a:pt x="315239" y="111036"/>
                  </a:lnTo>
                  <a:lnTo>
                    <a:pt x="309168" y="140982"/>
                  </a:lnTo>
                  <a:lnTo>
                    <a:pt x="309168" y="259842"/>
                  </a:lnTo>
                  <a:lnTo>
                    <a:pt x="315239" y="289814"/>
                  </a:lnTo>
                  <a:lnTo>
                    <a:pt x="331787" y="314299"/>
                  </a:lnTo>
                  <a:lnTo>
                    <a:pt x="356298" y="330809"/>
                  </a:lnTo>
                  <a:lnTo>
                    <a:pt x="386295" y="336867"/>
                  </a:lnTo>
                  <a:lnTo>
                    <a:pt x="505307" y="336867"/>
                  </a:lnTo>
                  <a:lnTo>
                    <a:pt x="544233" y="324802"/>
                  </a:lnTo>
                  <a:lnTo>
                    <a:pt x="576364" y="289814"/>
                  </a:lnTo>
                  <a:lnTo>
                    <a:pt x="582434" y="259842"/>
                  </a:lnTo>
                  <a:lnTo>
                    <a:pt x="582434" y="140982"/>
                  </a:lnTo>
                  <a:close/>
                </a:path>
                <a:path w="2015490" h="698500">
                  <a:moveTo>
                    <a:pt x="887145" y="140982"/>
                  </a:moveTo>
                  <a:lnTo>
                    <a:pt x="881075" y="111036"/>
                  </a:lnTo>
                  <a:lnTo>
                    <a:pt x="875106" y="102209"/>
                  </a:lnTo>
                  <a:lnTo>
                    <a:pt x="875106" y="140982"/>
                  </a:lnTo>
                  <a:lnTo>
                    <a:pt x="875106" y="259842"/>
                  </a:lnTo>
                  <a:lnTo>
                    <a:pt x="869988" y="285102"/>
                  </a:lnTo>
                  <a:lnTo>
                    <a:pt x="856030" y="305752"/>
                  </a:lnTo>
                  <a:lnTo>
                    <a:pt x="835342" y="319684"/>
                  </a:lnTo>
                  <a:lnTo>
                    <a:pt x="810018" y="324802"/>
                  </a:lnTo>
                  <a:lnTo>
                    <a:pt x="691007" y="324802"/>
                  </a:lnTo>
                  <a:lnTo>
                    <a:pt x="665746" y="319684"/>
                  </a:lnTo>
                  <a:lnTo>
                    <a:pt x="645083" y="305752"/>
                  </a:lnTo>
                  <a:lnTo>
                    <a:pt x="631139" y="285102"/>
                  </a:lnTo>
                  <a:lnTo>
                    <a:pt x="626008" y="259842"/>
                  </a:lnTo>
                  <a:lnTo>
                    <a:pt x="626008" y="140982"/>
                  </a:lnTo>
                  <a:lnTo>
                    <a:pt x="631139" y="115722"/>
                  </a:lnTo>
                  <a:lnTo>
                    <a:pt x="645083" y="95084"/>
                  </a:lnTo>
                  <a:lnTo>
                    <a:pt x="665746" y="81165"/>
                  </a:lnTo>
                  <a:lnTo>
                    <a:pt x="691007" y="76047"/>
                  </a:lnTo>
                  <a:lnTo>
                    <a:pt x="810018" y="76047"/>
                  </a:lnTo>
                  <a:lnTo>
                    <a:pt x="835342" y="81165"/>
                  </a:lnTo>
                  <a:lnTo>
                    <a:pt x="856030" y="95084"/>
                  </a:lnTo>
                  <a:lnTo>
                    <a:pt x="869988" y="115722"/>
                  </a:lnTo>
                  <a:lnTo>
                    <a:pt x="875106" y="140982"/>
                  </a:lnTo>
                  <a:lnTo>
                    <a:pt x="875106" y="102209"/>
                  </a:lnTo>
                  <a:lnTo>
                    <a:pt x="864539" y="86563"/>
                  </a:lnTo>
                  <a:lnTo>
                    <a:pt x="848931" y="76047"/>
                  </a:lnTo>
                  <a:lnTo>
                    <a:pt x="840016" y="70053"/>
                  </a:lnTo>
                  <a:lnTo>
                    <a:pt x="810018" y="63995"/>
                  </a:lnTo>
                  <a:lnTo>
                    <a:pt x="691007" y="63995"/>
                  </a:lnTo>
                  <a:lnTo>
                    <a:pt x="661009" y="70053"/>
                  </a:lnTo>
                  <a:lnTo>
                    <a:pt x="636498" y="86563"/>
                  </a:lnTo>
                  <a:lnTo>
                    <a:pt x="619950" y="111036"/>
                  </a:lnTo>
                  <a:lnTo>
                    <a:pt x="613892" y="140982"/>
                  </a:lnTo>
                  <a:lnTo>
                    <a:pt x="613892" y="259842"/>
                  </a:lnTo>
                  <a:lnTo>
                    <a:pt x="619950" y="289814"/>
                  </a:lnTo>
                  <a:lnTo>
                    <a:pt x="636498" y="314299"/>
                  </a:lnTo>
                  <a:lnTo>
                    <a:pt x="661009" y="330809"/>
                  </a:lnTo>
                  <a:lnTo>
                    <a:pt x="691007" y="336867"/>
                  </a:lnTo>
                  <a:lnTo>
                    <a:pt x="810018" y="336867"/>
                  </a:lnTo>
                  <a:lnTo>
                    <a:pt x="848944" y="324802"/>
                  </a:lnTo>
                  <a:lnTo>
                    <a:pt x="881075" y="289814"/>
                  </a:lnTo>
                  <a:lnTo>
                    <a:pt x="887145" y="259842"/>
                  </a:lnTo>
                  <a:lnTo>
                    <a:pt x="887145" y="140982"/>
                  </a:lnTo>
                  <a:close/>
                </a:path>
                <a:path w="2015490" h="698500">
                  <a:moveTo>
                    <a:pt x="2015236" y="19748"/>
                  </a:moveTo>
                  <a:lnTo>
                    <a:pt x="2013673" y="12065"/>
                  </a:lnTo>
                  <a:lnTo>
                    <a:pt x="2009419" y="5791"/>
                  </a:lnTo>
                  <a:lnTo>
                    <a:pt x="2003120" y="1549"/>
                  </a:lnTo>
                  <a:lnTo>
                    <a:pt x="1995424" y="0"/>
                  </a:lnTo>
                  <a:lnTo>
                    <a:pt x="1335684" y="0"/>
                  </a:lnTo>
                  <a:lnTo>
                    <a:pt x="1328000" y="1549"/>
                  </a:lnTo>
                  <a:lnTo>
                    <a:pt x="1321701" y="5791"/>
                  </a:lnTo>
                  <a:lnTo>
                    <a:pt x="1317447" y="12065"/>
                  </a:lnTo>
                  <a:lnTo>
                    <a:pt x="1315885" y="19748"/>
                  </a:lnTo>
                  <a:lnTo>
                    <a:pt x="1315885" y="678522"/>
                  </a:lnTo>
                  <a:lnTo>
                    <a:pt x="1317447" y="686193"/>
                  </a:lnTo>
                  <a:lnTo>
                    <a:pt x="1321701" y="692480"/>
                  </a:lnTo>
                  <a:lnTo>
                    <a:pt x="1328000" y="696709"/>
                  </a:lnTo>
                  <a:lnTo>
                    <a:pt x="1335684" y="698271"/>
                  </a:lnTo>
                  <a:lnTo>
                    <a:pt x="1995424" y="698271"/>
                  </a:lnTo>
                  <a:lnTo>
                    <a:pt x="2003120" y="696709"/>
                  </a:lnTo>
                  <a:lnTo>
                    <a:pt x="2009419" y="692480"/>
                  </a:lnTo>
                  <a:lnTo>
                    <a:pt x="2013673" y="686193"/>
                  </a:lnTo>
                  <a:lnTo>
                    <a:pt x="2015236" y="678522"/>
                  </a:lnTo>
                  <a:lnTo>
                    <a:pt x="2015236" y="19748"/>
                  </a:lnTo>
                  <a:close/>
                </a:path>
              </a:pathLst>
            </a:custGeom>
            <a:solidFill>
              <a:srgbClr val="FDFDFD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" name="object 6"/>
            <p:cNvSpPr/>
            <p:nvPr/>
          </p:nvSpPr>
          <p:spPr>
            <a:xfrm>
              <a:off x="7765389" y="5504433"/>
              <a:ext cx="420370" cy="295910"/>
            </a:xfrm>
            <a:custGeom>
              <a:avLst/>
              <a:gdLst/>
              <a:ahLst/>
              <a:cxnLst/>
              <a:rect l="l" t="t" r="r" b="b"/>
              <a:pathLst>
                <a:path w="420370" h="295910">
                  <a:moveTo>
                    <a:pt x="17437" y="104140"/>
                  </a:moveTo>
                  <a:lnTo>
                    <a:pt x="0" y="104140"/>
                  </a:lnTo>
                  <a:lnTo>
                    <a:pt x="0" y="121920"/>
                  </a:lnTo>
                  <a:lnTo>
                    <a:pt x="17437" y="121920"/>
                  </a:lnTo>
                  <a:lnTo>
                    <a:pt x="17437" y="104140"/>
                  </a:lnTo>
                  <a:close/>
                </a:path>
                <a:path w="420370" h="295910">
                  <a:moveTo>
                    <a:pt x="52400" y="261620"/>
                  </a:moveTo>
                  <a:lnTo>
                    <a:pt x="34963" y="261620"/>
                  </a:lnTo>
                  <a:lnTo>
                    <a:pt x="34963" y="226060"/>
                  </a:lnTo>
                  <a:lnTo>
                    <a:pt x="17437" y="226060"/>
                  </a:lnTo>
                  <a:lnTo>
                    <a:pt x="17437" y="279400"/>
                  </a:lnTo>
                  <a:lnTo>
                    <a:pt x="34963" y="279400"/>
                  </a:lnTo>
                  <a:lnTo>
                    <a:pt x="34963" y="295910"/>
                  </a:lnTo>
                  <a:lnTo>
                    <a:pt x="52400" y="295910"/>
                  </a:lnTo>
                  <a:lnTo>
                    <a:pt x="52400" y="261620"/>
                  </a:lnTo>
                  <a:close/>
                </a:path>
                <a:path w="420370" h="295910">
                  <a:moveTo>
                    <a:pt x="52400" y="139700"/>
                  </a:moveTo>
                  <a:lnTo>
                    <a:pt x="34963" y="139700"/>
                  </a:lnTo>
                  <a:lnTo>
                    <a:pt x="17437" y="139700"/>
                  </a:lnTo>
                  <a:lnTo>
                    <a:pt x="17437" y="173990"/>
                  </a:lnTo>
                  <a:lnTo>
                    <a:pt x="34963" y="173990"/>
                  </a:lnTo>
                  <a:lnTo>
                    <a:pt x="34963" y="156210"/>
                  </a:lnTo>
                  <a:lnTo>
                    <a:pt x="52400" y="156210"/>
                  </a:lnTo>
                  <a:lnTo>
                    <a:pt x="52400" y="139700"/>
                  </a:lnTo>
                  <a:close/>
                </a:path>
                <a:path w="420370" h="295910">
                  <a:moveTo>
                    <a:pt x="122415" y="279400"/>
                  </a:moveTo>
                  <a:lnTo>
                    <a:pt x="104889" y="279400"/>
                  </a:lnTo>
                  <a:lnTo>
                    <a:pt x="104889" y="261620"/>
                  </a:lnTo>
                  <a:lnTo>
                    <a:pt x="87363" y="261620"/>
                  </a:lnTo>
                  <a:lnTo>
                    <a:pt x="87363" y="279400"/>
                  </a:lnTo>
                  <a:lnTo>
                    <a:pt x="69926" y="279400"/>
                  </a:lnTo>
                  <a:lnTo>
                    <a:pt x="69926" y="295910"/>
                  </a:lnTo>
                  <a:lnTo>
                    <a:pt x="87363" y="295910"/>
                  </a:lnTo>
                  <a:lnTo>
                    <a:pt x="104889" y="295910"/>
                  </a:lnTo>
                  <a:lnTo>
                    <a:pt x="122415" y="295910"/>
                  </a:lnTo>
                  <a:lnTo>
                    <a:pt x="122415" y="279400"/>
                  </a:lnTo>
                  <a:close/>
                </a:path>
                <a:path w="420370" h="295910">
                  <a:moveTo>
                    <a:pt x="139941" y="226060"/>
                  </a:moveTo>
                  <a:lnTo>
                    <a:pt x="122415" y="226060"/>
                  </a:lnTo>
                  <a:lnTo>
                    <a:pt x="104889" y="226060"/>
                  </a:lnTo>
                  <a:lnTo>
                    <a:pt x="87363" y="226060"/>
                  </a:lnTo>
                  <a:lnTo>
                    <a:pt x="69926" y="226060"/>
                  </a:lnTo>
                  <a:lnTo>
                    <a:pt x="69926" y="191770"/>
                  </a:lnTo>
                  <a:lnTo>
                    <a:pt x="52400" y="191770"/>
                  </a:lnTo>
                  <a:lnTo>
                    <a:pt x="52400" y="173990"/>
                  </a:lnTo>
                  <a:lnTo>
                    <a:pt x="34963" y="173990"/>
                  </a:lnTo>
                  <a:lnTo>
                    <a:pt x="34963" y="191770"/>
                  </a:lnTo>
                  <a:lnTo>
                    <a:pt x="17437" y="191770"/>
                  </a:lnTo>
                  <a:lnTo>
                    <a:pt x="17437" y="209550"/>
                  </a:lnTo>
                  <a:lnTo>
                    <a:pt x="34963" y="209550"/>
                  </a:lnTo>
                  <a:lnTo>
                    <a:pt x="52400" y="209550"/>
                  </a:lnTo>
                  <a:lnTo>
                    <a:pt x="52400" y="261620"/>
                  </a:lnTo>
                  <a:lnTo>
                    <a:pt x="69926" y="261620"/>
                  </a:lnTo>
                  <a:lnTo>
                    <a:pt x="87363" y="261620"/>
                  </a:lnTo>
                  <a:lnTo>
                    <a:pt x="87363" y="243840"/>
                  </a:lnTo>
                  <a:lnTo>
                    <a:pt x="104889" y="243840"/>
                  </a:lnTo>
                  <a:lnTo>
                    <a:pt x="104889" y="261620"/>
                  </a:lnTo>
                  <a:lnTo>
                    <a:pt x="122415" y="261620"/>
                  </a:lnTo>
                  <a:lnTo>
                    <a:pt x="122415" y="243840"/>
                  </a:lnTo>
                  <a:lnTo>
                    <a:pt x="139941" y="243840"/>
                  </a:lnTo>
                  <a:lnTo>
                    <a:pt x="139941" y="226060"/>
                  </a:lnTo>
                  <a:close/>
                </a:path>
                <a:path w="420370" h="295910">
                  <a:moveTo>
                    <a:pt x="157378" y="261620"/>
                  </a:moveTo>
                  <a:lnTo>
                    <a:pt x="139941" y="261620"/>
                  </a:lnTo>
                  <a:lnTo>
                    <a:pt x="139941" y="279400"/>
                  </a:lnTo>
                  <a:lnTo>
                    <a:pt x="157378" y="279400"/>
                  </a:lnTo>
                  <a:lnTo>
                    <a:pt x="157378" y="261620"/>
                  </a:lnTo>
                  <a:close/>
                </a:path>
                <a:path w="420370" h="295910">
                  <a:moveTo>
                    <a:pt x="174904" y="226060"/>
                  </a:moveTo>
                  <a:lnTo>
                    <a:pt x="157378" y="226060"/>
                  </a:lnTo>
                  <a:lnTo>
                    <a:pt x="157378" y="243840"/>
                  </a:lnTo>
                  <a:lnTo>
                    <a:pt x="174904" y="243840"/>
                  </a:lnTo>
                  <a:lnTo>
                    <a:pt x="174904" y="226060"/>
                  </a:lnTo>
                  <a:close/>
                </a:path>
                <a:path w="420370" h="295910">
                  <a:moveTo>
                    <a:pt x="209867" y="226060"/>
                  </a:moveTo>
                  <a:lnTo>
                    <a:pt x="192341" y="226060"/>
                  </a:lnTo>
                  <a:lnTo>
                    <a:pt x="192341" y="243840"/>
                  </a:lnTo>
                  <a:lnTo>
                    <a:pt x="174904" y="243840"/>
                  </a:lnTo>
                  <a:lnTo>
                    <a:pt x="174904" y="279400"/>
                  </a:lnTo>
                  <a:lnTo>
                    <a:pt x="157378" y="279400"/>
                  </a:lnTo>
                  <a:lnTo>
                    <a:pt x="157378" y="295910"/>
                  </a:lnTo>
                  <a:lnTo>
                    <a:pt x="174904" y="295910"/>
                  </a:lnTo>
                  <a:lnTo>
                    <a:pt x="192341" y="295910"/>
                  </a:lnTo>
                  <a:lnTo>
                    <a:pt x="192341" y="279400"/>
                  </a:lnTo>
                  <a:lnTo>
                    <a:pt x="209867" y="279400"/>
                  </a:lnTo>
                  <a:lnTo>
                    <a:pt x="209867" y="226060"/>
                  </a:lnTo>
                  <a:close/>
                </a:path>
                <a:path w="420370" h="295910">
                  <a:moveTo>
                    <a:pt x="209867" y="16510"/>
                  </a:moveTo>
                  <a:lnTo>
                    <a:pt x="192341" y="16510"/>
                  </a:lnTo>
                  <a:lnTo>
                    <a:pt x="192341" y="104140"/>
                  </a:lnTo>
                  <a:lnTo>
                    <a:pt x="174904" y="104140"/>
                  </a:lnTo>
                  <a:lnTo>
                    <a:pt x="157378" y="104140"/>
                  </a:lnTo>
                  <a:lnTo>
                    <a:pt x="157378" y="121920"/>
                  </a:lnTo>
                  <a:lnTo>
                    <a:pt x="174904" y="121920"/>
                  </a:lnTo>
                  <a:lnTo>
                    <a:pt x="174904" y="139700"/>
                  </a:lnTo>
                  <a:lnTo>
                    <a:pt x="157378" y="139700"/>
                  </a:lnTo>
                  <a:lnTo>
                    <a:pt x="139941" y="139700"/>
                  </a:lnTo>
                  <a:lnTo>
                    <a:pt x="139941" y="86360"/>
                  </a:lnTo>
                  <a:lnTo>
                    <a:pt x="122415" y="86360"/>
                  </a:lnTo>
                  <a:lnTo>
                    <a:pt x="122415" y="121920"/>
                  </a:lnTo>
                  <a:lnTo>
                    <a:pt x="104889" y="121920"/>
                  </a:lnTo>
                  <a:lnTo>
                    <a:pt x="104889" y="86360"/>
                  </a:lnTo>
                  <a:lnTo>
                    <a:pt x="87363" y="86360"/>
                  </a:lnTo>
                  <a:lnTo>
                    <a:pt x="87363" y="121920"/>
                  </a:lnTo>
                  <a:lnTo>
                    <a:pt x="69926" y="121920"/>
                  </a:lnTo>
                  <a:lnTo>
                    <a:pt x="52400" y="121920"/>
                  </a:lnTo>
                  <a:lnTo>
                    <a:pt x="52400" y="139700"/>
                  </a:lnTo>
                  <a:lnTo>
                    <a:pt x="69926" y="139700"/>
                  </a:lnTo>
                  <a:lnTo>
                    <a:pt x="69926" y="173990"/>
                  </a:lnTo>
                  <a:lnTo>
                    <a:pt x="87363" y="173990"/>
                  </a:lnTo>
                  <a:lnTo>
                    <a:pt x="87363" y="156210"/>
                  </a:lnTo>
                  <a:lnTo>
                    <a:pt x="104889" y="156210"/>
                  </a:lnTo>
                  <a:lnTo>
                    <a:pt x="104889" y="209550"/>
                  </a:lnTo>
                  <a:lnTo>
                    <a:pt x="122415" y="209550"/>
                  </a:lnTo>
                  <a:lnTo>
                    <a:pt x="122415" y="173990"/>
                  </a:lnTo>
                  <a:lnTo>
                    <a:pt x="139941" y="173990"/>
                  </a:lnTo>
                  <a:lnTo>
                    <a:pt x="139941" y="156210"/>
                  </a:lnTo>
                  <a:lnTo>
                    <a:pt x="157378" y="156210"/>
                  </a:lnTo>
                  <a:lnTo>
                    <a:pt x="157378" y="173990"/>
                  </a:lnTo>
                  <a:lnTo>
                    <a:pt x="139941" y="173990"/>
                  </a:lnTo>
                  <a:lnTo>
                    <a:pt x="139941" y="226060"/>
                  </a:lnTo>
                  <a:lnTo>
                    <a:pt x="157378" y="226060"/>
                  </a:lnTo>
                  <a:lnTo>
                    <a:pt x="157378" y="209550"/>
                  </a:lnTo>
                  <a:lnTo>
                    <a:pt x="174904" y="209550"/>
                  </a:lnTo>
                  <a:lnTo>
                    <a:pt x="174904" y="226060"/>
                  </a:lnTo>
                  <a:lnTo>
                    <a:pt x="192341" y="226060"/>
                  </a:lnTo>
                  <a:lnTo>
                    <a:pt x="192341" y="191770"/>
                  </a:lnTo>
                  <a:lnTo>
                    <a:pt x="174904" y="191770"/>
                  </a:lnTo>
                  <a:lnTo>
                    <a:pt x="174904" y="156210"/>
                  </a:lnTo>
                  <a:lnTo>
                    <a:pt x="192341" y="156210"/>
                  </a:lnTo>
                  <a:lnTo>
                    <a:pt x="192341" y="121920"/>
                  </a:lnTo>
                  <a:lnTo>
                    <a:pt x="209867" y="121920"/>
                  </a:lnTo>
                  <a:lnTo>
                    <a:pt x="209867" y="16510"/>
                  </a:lnTo>
                  <a:close/>
                </a:path>
                <a:path w="420370" h="295910">
                  <a:moveTo>
                    <a:pt x="227406" y="279400"/>
                  </a:moveTo>
                  <a:lnTo>
                    <a:pt x="209867" y="279400"/>
                  </a:lnTo>
                  <a:lnTo>
                    <a:pt x="209867" y="295910"/>
                  </a:lnTo>
                  <a:lnTo>
                    <a:pt x="227406" y="295910"/>
                  </a:lnTo>
                  <a:lnTo>
                    <a:pt x="227406" y="279400"/>
                  </a:lnTo>
                  <a:close/>
                </a:path>
                <a:path w="420370" h="295910">
                  <a:moveTo>
                    <a:pt x="244830" y="139700"/>
                  </a:moveTo>
                  <a:lnTo>
                    <a:pt x="227406" y="139700"/>
                  </a:lnTo>
                  <a:lnTo>
                    <a:pt x="227406" y="156210"/>
                  </a:lnTo>
                  <a:lnTo>
                    <a:pt x="244830" y="156210"/>
                  </a:lnTo>
                  <a:lnTo>
                    <a:pt x="244830" y="139700"/>
                  </a:lnTo>
                  <a:close/>
                </a:path>
                <a:path w="420370" h="295910">
                  <a:moveTo>
                    <a:pt x="262356" y="279400"/>
                  </a:moveTo>
                  <a:lnTo>
                    <a:pt x="244830" y="279400"/>
                  </a:lnTo>
                  <a:lnTo>
                    <a:pt x="244830" y="295910"/>
                  </a:lnTo>
                  <a:lnTo>
                    <a:pt x="262356" y="295910"/>
                  </a:lnTo>
                  <a:lnTo>
                    <a:pt x="262356" y="279400"/>
                  </a:lnTo>
                  <a:close/>
                </a:path>
                <a:path w="420370" h="295910">
                  <a:moveTo>
                    <a:pt x="262356" y="156210"/>
                  </a:moveTo>
                  <a:lnTo>
                    <a:pt x="244830" y="156210"/>
                  </a:lnTo>
                  <a:lnTo>
                    <a:pt x="244830" y="173990"/>
                  </a:lnTo>
                  <a:lnTo>
                    <a:pt x="262356" y="173990"/>
                  </a:lnTo>
                  <a:lnTo>
                    <a:pt x="262356" y="156210"/>
                  </a:lnTo>
                  <a:close/>
                </a:path>
                <a:path w="420370" h="295910">
                  <a:moveTo>
                    <a:pt x="279793" y="139700"/>
                  </a:moveTo>
                  <a:lnTo>
                    <a:pt x="262356" y="139700"/>
                  </a:lnTo>
                  <a:lnTo>
                    <a:pt x="262356" y="156210"/>
                  </a:lnTo>
                  <a:lnTo>
                    <a:pt x="279793" y="156210"/>
                  </a:lnTo>
                  <a:lnTo>
                    <a:pt x="279793" y="139700"/>
                  </a:lnTo>
                  <a:close/>
                </a:path>
                <a:path w="420370" h="295910">
                  <a:moveTo>
                    <a:pt x="297319" y="279400"/>
                  </a:moveTo>
                  <a:lnTo>
                    <a:pt x="279793" y="279400"/>
                  </a:lnTo>
                  <a:lnTo>
                    <a:pt x="279793" y="295910"/>
                  </a:lnTo>
                  <a:lnTo>
                    <a:pt x="297319" y="295910"/>
                  </a:lnTo>
                  <a:lnTo>
                    <a:pt x="297319" y="279400"/>
                  </a:lnTo>
                  <a:close/>
                </a:path>
                <a:path w="420370" h="295910">
                  <a:moveTo>
                    <a:pt x="349821" y="279400"/>
                  </a:moveTo>
                  <a:lnTo>
                    <a:pt x="332384" y="279400"/>
                  </a:lnTo>
                  <a:lnTo>
                    <a:pt x="332384" y="295910"/>
                  </a:lnTo>
                  <a:lnTo>
                    <a:pt x="349821" y="295910"/>
                  </a:lnTo>
                  <a:lnTo>
                    <a:pt x="349821" y="279400"/>
                  </a:lnTo>
                  <a:close/>
                </a:path>
                <a:path w="420370" h="295910">
                  <a:moveTo>
                    <a:pt x="349821" y="173990"/>
                  </a:moveTo>
                  <a:lnTo>
                    <a:pt x="332384" y="173990"/>
                  </a:lnTo>
                  <a:lnTo>
                    <a:pt x="332384" y="191770"/>
                  </a:lnTo>
                  <a:lnTo>
                    <a:pt x="349821" y="191770"/>
                  </a:lnTo>
                  <a:lnTo>
                    <a:pt x="349821" y="173990"/>
                  </a:lnTo>
                  <a:close/>
                </a:path>
                <a:path w="420370" h="295910">
                  <a:moveTo>
                    <a:pt x="419747" y="191770"/>
                  </a:moveTo>
                  <a:lnTo>
                    <a:pt x="402310" y="191770"/>
                  </a:lnTo>
                  <a:lnTo>
                    <a:pt x="384784" y="191770"/>
                  </a:lnTo>
                  <a:lnTo>
                    <a:pt x="384784" y="173990"/>
                  </a:lnTo>
                  <a:lnTo>
                    <a:pt x="402310" y="173990"/>
                  </a:lnTo>
                  <a:lnTo>
                    <a:pt x="402310" y="121920"/>
                  </a:lnTo>
                  <a:lnTo>
                    <a:pt x="384784" y="121920"/>
                  </a:lnTo>
                  <a:lnTo>
                    <a:pt x="384784" y="139700"/>
                  </a:lnTo>
                  <a:lnTo>
                    <a:pt x="367347" y="139700"/>
                  </a:lnTo>
                  <a:lnTo>
                    <a:pt x="367347" y="156210"/>
                  </a:lnTo>
                  <a:lnTo>
                    <a:pt x="367347" y="209550"/>
                  </a:lnTo>
                  <a:lnTo>
                    <a:pt x="349821" y="209550"/>
                  </a:lnTo>
                  <a:lnTo>
                    <a:pt x="349821" y="226060"/>
                  </a:lnTo>
                  <a:lnTo>
                    <a:pt x="349821" y="243840"/>
                  </a:lnTo>
                  <a:lnTo>
                    <a:pt x="332384" y="243840"/>
                  </a:lnTo>
                  <a:lnTo>
                    <a:pt x="314858" y="243840"/>
                  </a:lnTo>
                  <a:lnTo>
                    <a:pt x="314858" y="226060"/>
                  </a:lnTo>
                  <a:lnTo>
                    <a:pt x="332384" y="226060"/>
                  </a:lnTo>
                  <a:lnTo>
                    <a:pt x="349821" y="226060"/>
                  </a:lnTo>
                  <a:lnTo>
                    <a:pt x="349821" y="209550"/>
                  </a:lnTo>
                  <a:lnTo>
                    <a:pt x="332384" y="209550"/>
                  </a:lnTo>
                  <a:lnTo>
                    <a:pt x="314858" y="209550"/>
                  </a:lnTo>
                  <a:lnTo>
                    <a:pt x="314858" y="156210"/>
                  </a:lnTo>
                  <a:lnTo>
                    <a:pt x="332384" y="156210"/>
                  </a:lnTo>
                  <a:lnTo>
                    <a:pt x="349821" y="156210"/>
                  </a:lnTo>
                  <a:lnTo>
                    <a:pt x="367347" y="156210"/>
                  </a:lnTo>
                  <a:lnTo>
                    <a:pt x="367347" y="139700"/>
                  </a:lnTo>
                  <a:lnTo>
                    <a:pt x="367347" y="121920"/>
                  </a:lnTo>
                  <a:lnTo>
                    <a:pt x="384784" y="121920"/>
                  </a:lnTo>
                  <a:lnTo>
                    <a:pt x="384784" y="104140"/>
                  </a:lnTo>
                  <a:lnTo>
                    <a:pt x="367347" y="104140"/>
                  </a:lnTo>
                  <a:lnTo>
                    <a:pt x="349821" y="104140"/>
                  </a:lnTo>
                  <a:lnTo>
                    <a:pt x="332384" y="104140"/>
                  </a:lnTo>
                  <a:lnTo>
                    <a:pt x="332384" y="86360"/>
                  </a:lnTo>
                  <a:lnTo>
                    <a:pt x="314858" y="86360"/>
                  </a:lnTo>
                  <a:lnTo>
                    <a:pt x="314858" y="104140"/>
                  </a:lnTo>
                  <a:lnTo>
                    <a:pt x="297319" y="104140"/>
                  </a:lnTo>
                  <a:lnTo>
                    <a:pt x="297319" y="86360"/>
                  </a:lnTo>
                  <a:lnTo>
                    <a:pt x="279793" y="86360"/>
                  </a:lnTo>
                  <a:lnTo>
                    <a:pt x="279793" y="0"/>
                  </a:lnTo>
                  <a:lnTo>
                    <a:pt x="262356" y="0"/>
                  </a:lnTo>
                  <a:lnTo>
                    <a:pt x="262356" y="69850"/>
                  </a:lnTo>
                  <a:lnTo>
                    <a:pt x="244830" y="69850"/>
                  </a:lnTo>
                  <a:lnTo>
                    <a:pt x="244830" y="104140"/>
                  </a:lnTo>
                  <a:lnTo>
                    <a:pt x="227406" y="104140"/>
                  </a:lnTo>
                  <a:lnTo>
                    <a:pt x="227406" y="121920"/>
                  </a:lnTo>
                  <a:lnTo>
                    <a:pt x="244830" y="121920"/>
                  </a:lnTo>
                  <a:lnTo>
                    <a:pt x="262356" y="121920"/>
                  </a:lnTo>
                  <a:lnTo>
                    <a:pt x="279793" y="121920"/>
                  </a:lnTo>
                  <a:lnTo>
                    <a:pt x="279793" y="139700"/>
                  </a:lnTo>
                  <a:lnTo>
                    <a:pt x="297319" y="139700"/>
                  </a:lnTo>
                  <a:lnTo>
                    <a:pt x="297319" y="121920"/>
                  </a:lnTo>
                  <a:lnTo>
                    <a:pt x="314858" y="121920"/>
                  </a:lnTo>
                  <a:lnTo>
                    <a:pt x="332384" y="121920"/>
                  </a:lnTo>
                  <a:lnTo>
                    <a:pt x="332384" y="139700"/>
                  </a:lnTo>
                  <a:lnTo>
                    <a:pt x="314858" y="139700"/>
                  </a:lnTo>
                  <a:lnTo>
                    <a:pt x="297319" y="139700"/>
                  </a:lnTo>
                  <a:lnTo>
                    <a:pt x="297319" y="173990"/>
                  </a:lnTo>
                  <a:lnTo>
                    <a:pt x="279793" y="173990"/>
                  </a:lnTo>
                  <a:lnTo>
                    <a:pt x="279793" y="191770"/>
                  </a:lnTo>
                  <a:lnTo>
                    <a:pt x="262356" y="191770"/>
                  </a:lnTo>
                  <a:lnTo>
                    <a:pt x="244830" y="191770"/>
                  </a:lnTo>
                  <a:lnTo>
                    <a:pt x="227406" y="191770"/>
                  </a:lnTo>
                  <a:lnTo>
                    <a:pt x="227406" y="156210"/>
                  </a:lnTo>
                  <a:lnTo>
                    <a:pt x="209867" y="156210"/>
                  </a:lnTo>
                  <a:lnTo>
                    <a:pt x="209867" y="226060"/>
                  </a:lnTo>
                  <a:lnTo>
                    <a:pt x="227406" y="226060"/>
                  </a:lnTo>
                  <a:lnTo>
                    <a:pt x="227406" y="209550"/>
                  </a:lnTo>
                  <a:lnTo>
                    <a:pt x="244830" y="209550"/>
                  </a:lnTo>
                  <a:lnTo>
                    <a:pt x="244830" y="226060"/>
                  </a:lnTo>
                  <a:lnTo>
                    <a:pt x="262356" y="226060"/>
                  </a:lnTo>
                  <a:lnTo>
                    <a:pt x="279793" y="226060"/>
                  </a:lnTo>
                  <a:lnTo>
                    <a:pt x="279793" y="243840"/>
                  </a:lnTo>
                  <a:lnTo>
                    <a:pt x="262356" y="243840"/>
                  </a:lnTo>
                  <a:lnTo>
                    <a:pt x="244830" y="243840"/>
                  </a:lnTo>
                  <a:lnTo>
                    <a:pt x="244830" y="226060"/>
                  </a:lnTo>
                  <a:lnTo>
                    <a:pt x="227406" y="226060"/>
                  </a:lnTo>
                  <a:lnTo>
                    <a:pt x="227406" y="279400"/>
                  </a:lnTo>
                  <a:lnTo>
                    <a:pt x="244830" y="279400"/>
                  </a:lnTo>
                  <a:lnTo>
                    <a:pt x="244830" y="261620"/>
                  </a:lnTo>
                  <a:lnTo>
                    <a:pt x="262356" y="261620"/>
                  </a:lnTo>
                  <a:lnTo>
                    <a:pt x="262356" y="279400"/>
                  </a:lnTo>
                  <a:lnTo>
                    <a:pt x="279793" y="279400"/>
                  </a:lnTo>
                  <a:lnTo>
                    <a:pt x="279793" y="261620"/>
                  </a:lnTo>
                  <a:lnTo>
                    <a:pt x="297319" y="261620"/>
                  </a:lnTo>
                  <a:lnTo>
                    <a:pt x="297319" y="279400"/>
                  </a:lnTo>
                  <a:lnTo>
                    <a:pt x="314858" y="279400"/>
                  </a:lnTo>
                  <a:lnTo>
                    <a:pt x="332384" y="279400"/>
                  </a:lnTo>
                  <a:lnTo>
                    <a:pt x="332384" y="261620"/>
                  </a:lnTo>
                  <a:lnTo>
                    <a:pt x="349821" y="261620"/>
                  </a:lnTo>
                  <a:lnTo>
                    <a:pt x="349821" y="279400"/>
                  </a:lnTo>
                  <a:lnTo>
                    <a:pt x="367347" y="279400"/>
                  </a:lnTo>
                  <a:lnTo>
                    <a:pt x="367347" y="295910"/>
                  </a:lnTo>
                  <a:lnTo>
                    <a:pt x="384784" y="295910"/>
                  </a:lnTo>
                  <a:lnTo>
                    <a:pt x="402310" y="295910"/>
                  </a:lnTo>
                  <a:lnTo>
                    <a:pt x="419747" y="295910"/>
                  </a:lnTo>
                  <a:lnTo>
                    <a:pt x="419747" y="279400"/>
                  </a:lnTo>
                  <a:lnTo>
                    <a:pt x="402310" y="279400"/>
                  </a:lnTo>
                  <a:lnTo>
                    <a:pt x="402310" y="243840"/>
                  </a:lnTo>
                  <a:lnTo>
                    <a:pt x="384784" y="243840"/>
                  </a:lnTo>
                  <a:lnTo>
                    <a:pt x="384784" y="261620"/>
                  </a:lnTo>
                  <a:lnTo>
                    <a:pt x="367347" y="261620"/>
                  </a:lnTo>
                  <a:lnTo>
                    <a:pt x="367347" y="226060"/>
                  </a:lnTo>
                  <a:lnTo>
                    <a:pt x="384784" y="226060"/>
                  </a:lnTo>
                  <a:lnTo>
                    <a:pt x="384784" y="209550"/>
                  </a:lnTo>
                  <a:lnTo>
                    <a:pt x="402310" y="209550"/>
                  </a:lnTo>
                  <a:lnTo>
                    <a:pt x="402310" y="226060"/>
                  </a:lnTo>
                  <a:lnTo>
                    <a:pt x="419747" y="226060"/>
                  </a:lnTo>
                  <a:lnTo>
                    <a:pt x="419747" y="191770"/>
                  </a:lnTo>
                  <a:close/>
                </a:path>
              </a:pathLst>
            </a:custGeom>
            <a:solidFill>
              <a:srgbClr val="00412C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" name="object 7"/>
            <p:cNvSpPr/>
            <p:nvPr/>
          </p:nvSpPr>
          <p:spPr>
            <a:xfrm>
              <a:off x="7642885" y="5468873"/>
              <a:ext cx="577850" cy="331470"/>
            </a:xfrm>
            <a:custGeom>
              <a:avLst/>
              <a:gdLst/>
              <a:ahLst/>
              <a:cxnLst/>
              <a:rect l="l" t="t" r="r" b="b"/>
              <a:pathLst>
                <a:path w="577850" h="331470">
                  <a:moveTo>
                    <a:pt x="34963" y="209181"/>
                  </a:moveTo>
                  <a:lnTo>
                    <a:pt x="17526" y="209181"/>
                  </a:lnTo>
                  <a:lnTo>
                    <a:pt x="0" y="209181"/>
                  </a:lnTo>
                  <a:lnTo>
                    <a:pt x="0" y="331470"/>
                  </a:lnTo>
                  <a:lnTo>
                    <a:pt x="17526" y="331470"/>
                  </a:lnTo>
                  <a:lnTo>
                    <a:pt x="34963" y="331470"/>
                  </a:lnTo>
                  <a:lnTo>
                    <a:pt x="34963" y="313994"/>
                  </a:lnTo>
                  <a:lnTo>
                    <a:pt x="17526" y="313994"/>
                  </a:lnTo>
                  <a:lnTo>
                    <a:pt x="17526" y="226656"/>
                  </a:lnTo>
                  <a:lnTo>
                    <a:pt x="34963" y="226656"/>
                  </a:lnTo>
                  <a:lnTo>
                    <a:pt x="34963" y="209181"/>
                  </a:lnTo>
                  <a:close/>
                </a:path>
                <a:path w="577850" h="331470">
                  <a:moveTo>
                    <a:pt x="87452" y="244132"/>
                  </a:moveTo>
                  <a:lnTo>
                    <a:pt x="70015" y="244132"/>
                  </a:lnTo>
                  <a:lnTo>
                    <a:pt x="52489" y="244132"/>
                  </a:lnTo>
                  <a:lnTo>
                    <a:pt x="35052" y="244132"/>
                  </a:lnTo>
                  <a:lnTo>
                    <a:pt x="35052" y="296519"/>
                  </a:lnTo>
                  <a:lnTo>
                    <a:pt x="52489" y="296519"/>
                  </a:lnTo>
                  <a:lnTo>
                    <a:pt x="70015" y="296519"/>
                  </a:lnTo>
                  <a:lnTo>
                    <a:pt x="87452" y="296519"/>
                  </a:lnTo>
                  <a:lnTo>
                    <a:pt x="87452" y="244132"/>
                  </a:lnTo>
                  <a:close/>
                </a:path>
                <a:path w="577850" h="331470">
                  <a:moveTo>
                    <a:pt x="122415" y="209181"/>
                  </a:moveTo>
                  <a:lnTo>
                    <a:pt x="122415" y="209181"/>
                  </a:lnTo>
                  <a:lnTo>
                    <a:pt x="35052" y="209181"/>
                  </a:lnTo>
                  <a:lnTo>
                    <a:pt x="35052" y="226656"/>
                  </a:lnTo>
                  <a:lnTo>
                    <a:pt x="52489" y="226656"/>
                  </a:lnTo>
                  <a:lnTo>
                    <a:pt x="70015" y="226656"/>
                  </a:lnTo>
                  <a:lnTo>
                    <a:pt x="87452" y="226656"/>
                  </a:lnTo>
                  <a:lnTo>
                    <a:pt x="104978" y="226656"/>
                  </a:lnTo>
                  <a:lnTo>
                    <a:pt x="104978" y="313994"/>
                  </a:lnTo>
                  <a:lnTo>
                    <a:pt x="87452" y="313994"/>
                  </a:lnTo>
                  <a:lnTo>
                    <a:pt x="70015" y="313994"/>
                  </a:lnTo>
                  <a:lnTo>
                    <a:pt x="52489" y="313994"/>
                  </a:lnTo>
                  <a:lnTo>
                    <a:pt x="35052" y="313994"/>
                  </a:lnTo>
                  <a:lnTo>
                    <a:pt x="35052" y="331470"/>
                  </a:lnTo>
                  <a:lnTo>
                    <a:pt x="122415" y="331470"/>
                  </a:lnTo>
                  <a:lnTo>
                    <a:pt x="122415" y="209181"/>
                  </a:lnTo>
                  <a:close/>
                </a:path>
                <a:path w="577850" h="331470">
                  <a:moveTo>
                    <a:pt x="174904" y="52070"/>
                  </a:moveTo>
                  <a:lnTo>
                    <a:pt x="157467" y="52070"/>
                  </a:lnTo>
                  <a:lnTo>
                    <a:pt x="157467" y="69850"/>
                  </a:lnTo>
                  <a:lnTo>
                    <a:pt x="174904" y="69850"/>
                  </a:lnTo>
                  <a:lnTo>
                    <a:pt x="174904" y="52070"/>
                  </a:lnTo>
                  <a:close/>
                </a:path>
                <a:path w="577850" h="331470">
                  <a:moveTo>
                    <a:pt x="174904" y="0"/>
                  </a:moveTo>
                  <a:lnTo>
                    <a:pt x="157467" y="0"/>
                  </a:lnTo>
                  <a:lnTo>
                    <a:pt x="139941" y="0"/>
                  </a:lnTo>
                  <a:lnTo>
                    <a:pt x="122504" y="0"/>
                  </a:lnTo>
                  <a:lnTo>
                    <a:pt x="122504" y="17780"/>
                  </a:lnTo>
                  <a:lnTo>
                    <a:pt x="139941" y="17780"/>
                  </a:lnTo>
                  <a:lnTo>
                    <a:pt x="139941" y="35560"/>
                  </a:lnTo>
                  <a:lnTo>
                    <a:pt x="157467" y="35560"/>
                  </a:lnTo>
                  <a:lnTo>
                    <a:pt x="174904" y="35560"/>
                  </a:lnTo>
                  <a:lnTo>
                    <a:pt x="174904" y="0"/>
                  </a:lnTo>
                  <a:close/>
                </a:path>
                <a:path w="577850" h="331470">
                  <a:moveTo>
                    <a:pt x="192430" y="35560"/>
                  </a:moveTo>
                  <a:lnTo>
                    <a:pt x="174904" y="35560"/>
                  </a:lnTo>
                  <a:lnTo>
                    <a:pt x="174904" y="52070"/>
                  </a:lnTo>
                  <a:lnTo>
                    <a:pt x="192430" y="52070"/>
                  </a:lnTo>
                  <a:lnTo>
                    <a:pt x="192430" y="35560"/>
                  </a:lnTo>
                  <a:close/>
                </a:path>
                <a:path w="577850" h="331470">
                  <a:moveTo>
                    <a:pt x="209867" y="69850"/>
                  </a:moveTo>
                  <a:lnTo>
                    <a:pt x="192430" y="69850"/>
                  </a:lnTo>
                  <a:lnTo>
                    <a:pt x="174904" y="69850"/>
                  </a:lnTo>
                  <a:lnTo>
                    <a:pt x="174904" y="87630"/>
                  </a:lnTo>
                  <a:lnTo>
                    <a:pt x="157467" y="87630"/>
                  </a:lnTo>
                  <a:lnTo>
                    <a:pt x="139941" y="87630"/>
                  </a:lnTo>
                  <a:lnTo>
                    <a:pt x="139941" y="69850"/>
                  </a:lnTo>
                  <a:lnTo>
                    <a:pt x="122504" y="69850"/>
                  </a:lnTo>
                  <a:lnTo>
                    <a:pt x="122504" y="105410"/>
                  </a:lnTo>
                  <a:lnTo>
                    <a:pt x="139941" y="105410"/>
                  </a:lnTo>
                  <a:lnTo>
                    <a:pt x="139941" y="121920"/>
                  </a:lnTo>
                  <a:lnTo>
                    <a:pt x="157467" y="121920"/>
                  </a:lnTo>
                  <a:lnTo>
                    <a:pt x="174904" y="121920"/>
                  </a:lnTo>
                  <a:lnTo>
                    <a:pt x="174904" y="139700"/>
                  </a:lnTo>
                  <a:lnTo>
                    <a:pt x="192430" y="139700"/>
                  </a:lnTo>
                  <a:lnTo>
                    <a:pt x="209867" y="139700"/>
                  </a:lnTo>
                  <a:lnTo>
                    <a:pt x="209867" y="69850"/>
                  </a:lnTo>
                  <a:close/>
                </a:path>
                <a:path w="577850" h="331470">
                  <a:moveTo>
                    <a:pt x="262445" y="87630"/>
                  </a:moveTo>
                  <a:lnTo>
                    <a:pt x="244919" y="87630"/>
                  </a:lnTo>
                  <a:lnTo>
                    <a:pt x="227393" y="87630"/>
                  </a:lnTo>
                  <a:lnTo>
                    <a:pt x="227393" y="105410"/>
                  </a:lnTo>
                  <a:lnTo>
                    <a:pt x="244919" y="105410"/>
                  </a:lnTo>
                  <a:lnTo>
                    <a:pt x="262445" y="105410"/>
                  </a:lnTo>
                  <a:lnTo>
                    <a:pt x="262445" y="87630"/>
                  </a:lnTo>
                  <a:close/>
                </a:path>
                <a:path w="577850" h="331470">
                  <a:moveTo>
                    <a:pt x="262445" y="0"/>
                  </a:moveTo>
                  <a:lnTo>
                    <a:pt x="244919" y="0"/>
                  </a:lnTo>
                  <a:lnTo>
                    <a:pt x="227393" y="0"/>
                  </a:lnTo>
                  <a:lnTo>
                    <a:pt x="209867" y="0"/>
                  </a:lnTo>
                  <a:lnTo>
                    <a:pt x="192430" y="0"/>
                  </a:lnTo>
                  <a:lnTo>
                    <a:pt x="192430" y="17780"/>
                  </a:lnTo>
                  <a:lnTo>
                    <a:pt x="209867" y="17780"/>
                  </a:lnTo>
                  <a:lnTo>
                    <a:pt x="227393" y="17780"/>
                  </a:lnTo>
                  <a:lnTo>
                    <a:pt x="227393" y="35560"/>
                  </a:lnTo>
                  <a:lnTo>
                    <a:pt x="244919" y="35560"/>
                  </a:lnTo>
                  <a:lnTo>
                    <a:pt x="262445" y="35560"/>
                  </a:lnTo>
                  <a:lnTo>
                    <a:pt x="262445" y="0"/>
                  </a:lnTo>
                  <a:close/>
                </a:path>
                <a:path w="577850" h="331470">
                  <a:moveTo>
                    <a:pt x="297408" y="87630"/>
                  </a:moveTo>
                  <a:lnTo>
                    <a:pt x="279882" y="87630"/>
                  </a:lnTo>
                  <a:lnTo>
                    <a:pt x="279882" y="105410"/>
                  </a:lnTo>
                  <a:lnTo>
                    <a:pt x="262445" y="105410"/>
                  </a:lnTo>
                  <a:lnTo>
                    <a:pt x="262445" y="121920"/>
                  </a:lnTo>
                  <a:lnTo>
                    <a:pt x="279882" y="121920"/>
                  </a:lnTo>
                  <a:lnTo>
                    <a:pt x="297408" y="121920"/>
                  </a:lnTo>
                  <a:lnTo>
                    <a:pt x="297408" y="87630"/>
                  </a:lnTo>
                  <a:close/>
                </a:path>
                <a:path w="577850" h="331470">
                  <a:moveTo>
                    <a:pt x="314845" y="69850"/>
                  </a:moveTo>
                  <a:lnTo>
                    <a:pt x="297408" y="69850"/>
                  </a:lnTo>
                  <a:lnTo>
                    <a:pt x="297408" y="87630"/>
                  </a:lnTo>
                  <a:lnTo>
                    <a:pt x="314845" y="87630"/>
                  </a:lnTo>
                  <a:lnTo>
                    <a:pt x="314845" y="69850"/>
                  </a:lnTo>
                  <a:close/>
                </a:path>
                <a:path w="577850" h="331470">
                  <a:moveTo>
                    <a:pt x="314845" y="17780"/>
                  </a:moveTo>
                  <a:lnTo>
                    <a:pt x="297408" y="17780"/>
                  </a:lnTo>
                  <a:lnTo>
                    <a:pt x="279882" y="17780"/>
                  </a:lnTo>
                  <a:lnTo>
                    <a:pt x="279882" y="52070"/>
                  </a:lnTo>
                  <a:lnTo>
                    <a:pt x="262445" y="52070"/>
                  </a:lnTo>
                  <a:lnTo>
                    <a:pt x="244919" y="52070"/>
                  </a:lnTo>
                  <a:lnTo>
                    <a:pt x="227393" y="52070"/>
                  </a:lnTo>
                  <a:lnTo>
                    <a:pt x="227393" y="35560"/>
                  </a:lnTo>
                  <a:lnTo>
                    <a:pt x="209867" y="35560"/>
                  </a:lnTo>
                  <a:lnTo>
                    <a:pt x="209867" y="69850"/>
                  </a:lnTo>
                  <a:lnTo>
                    <a:pt x="227393" y="69850"/>
                  </a:lnTo>
                  <a:lnTo>
                    <a:pt x="244919" y="69850"/>
                  </a:lnTo>
                  <a:lnTo>
                    <a:pt x="262445" y="69850"/>
                  </a:lnTo>
                  <a:lnTo>
                    <a:pt x="262445" y="87630"/>
                  </a:lnTo>
                  <a:lnTo>
                    <a:pt x="279882" y="87630"/>
                  </a:lnTo>
                  <a:lnTo>
                    <a:pt x="279882" y="69850"/>
                  </a:lnTo>
                  <a:lnTo>
                    <a:pt x="297408" y="69850"/>
                  </a:lnTo>
                  <a:lnTo>
                    <a:pt x="297408" y="35560"/>
                  </a:lnTo>
                  <a:lnTo>
                    <a:pt x="314845" y="35560"/>
                  </a:lnTo>
                  <a:lnTo>
                    <a:pt x="314845" y="17780"/>
                  </a:lnTo>
                  <a:close/>
                </a:path>
                <a:path w="577850" h="331470">
                  <a:moveTo>
                    <a:pt x="349910" y="105410"/>
                  </a:moveTo>
                  <a:lnTo>
                    <a:pt x="332371" y="105410"/>
                  </a:lnTo>
                  <a:lnTo>
                    <a:pt x="332371" y="121920"/>
                  </a:lnTo>
                  <a:lnTo>
                    <a:pt x="349910" y="121920"/>
                  </a:lnTo>
                  <a:lnTo>
                    <a:pt x="349910" y="105410"/>
                  </a:lnTo>
                  <a:close/>
                </a:path>
                <a:path w="577850" h="331470">
                  <a:moveTo>
                    <a:pt x="384860" y="69850"/>
                  </a:moveTo>
                  <a:lnTo>
                    <a:pt x="367334" y="69850"/>
                  </a:lnTo>
                  <a:lnTo>
                    <a:pt x="367334" y="87630"/>
                  </a:lnTo>
                  <a:lnTo>
                    <a:pt x="384860" y="87630"/>
                  </a:lnTo>
                  <a:lnTo>
                    <a:pt x="384860" y="69850"/>
                  </a:lnTo>
                  <a:close/>
                </a:path>
                <a:path w="577850" h="331470">
                  <a:moveTo>
                    <a:pt x="384860" y="0"/>
                  </a:moveTo>
                  <a:lnTo>
                    <a:pt x="367334" y="0"/>
                  </a:lnTo>
                  <a:lnTo>
                    <a:pt x="367334" y="17780"/>
                  </a:lnTo>
                  <a:lnTo>
                    <a:pt x="349910" y="17780"/>
                  </a:lnTo>
                  <a:lnTo>
                    <a:pt x="332371" y="17780"/>
                  </a:lnTo>
                  <a:lnTo>
                    <a:pt x="332371" y="52070"/>
                  </a:lnTo>
                  <a:lnTo>
                    <a:pt x="349910" y="52070"/>
                  </a:lnTo>
                  <a:lnTo>
                    <a:pt x="349910" y="69850"/>
                  </a:lnTo>
                  <a:lnTo>
                    <a:pt x="367334" y="69850"/>
                  </a:lnTo>
                  <a:lnTo>
                    <a:pt x="367334" y="52070"/>
                  </a:lnTo>
                  <a:lnTo>
                    <a:pt x="384860" y="52070"/>
                  </a:lnTo>
                  <a:lnTo>
                    <a:pt x="384860" y="0"/>
                  </a:lnTo>
                  <a:close/>
                </a:path>
                <a:path w="577850" h="331470">
                  <a:moveTo>
                    <a:pt x="419823" y="52070"/>
                  </a:moveTo>
                  <a:lnTo>
                    <a:pt x="402297" y="52070"/>
                  </a:lnTo>
                  <a:lnTo>
                    <a:pt x="402297" y="69850"/>
                  </a:lnTo>
                  <a:lnTo>
                    <a:pt x="419823" y="69850"/>
                  </a:lnTo>
                  <a:lnTo>
                    <a:pt x="419823" y="52070"/>
                  </a:lnTo>
                  <a:close/>
                </a:path>
                <a:path w="577850" h="331470">
                  <a:moveTo>
                    <a:pt x="419823" y="17780"/>
                  </a:moveTo>
                  <a:lnTo>
                    <a:pt x="402297" y="17780"/>
                  </a:lnTo>
                  <a:lnTo>
                    <a:pt x="402297" y="35560"/>
                  </a:lnTo>
                  <a:lnTo>
                    <a:pt x="419823" y="35560"/>
                  </a:lnTo>
                  <a:lnTo>
                    <a:pt x="419823" y="17780"/>
                  </a:lnTo>
                  <a:close/>
                </a:path>
                <a:path w="577850" h="331470">
                  <a:moveTo>
                    <a:pt x="437362" y="0"/>
                  </a:moveTo>
                  <a:lnTo>
                    <a:pt x="419823" y="0"/>
                  </a:lnTo>
                  <a:lnTo>
                    <a:pt x="419823" y="17780"/>
                  </a:lnTo>
                  <a:lnTo>
                    <a:pt x="437362" y="17780"/>
                  </a:lnTo>
                  <a:lnTo>
                    <a:pt x="437362" y="0"/>
                  </a:lnTo>
                  <a:close/>
                </a:path>
                <a:path w="577850" h="331470">
                  <a:moveTo>
                    <a:pt x="489851" y="105410"/>
                  </a:moveTo>
                  <a:lnTo>
                    <a:pt x="472325" y="105410"/>
                  </a:lnTo>
                  <a:lnTo>
                    <a:pt x="472325" y="121920"/>
                  </a:lnTo>
                  <a:lnTo>
                    <a:pt x="489851" y="121920"/>
                  </a:lnTo>
                  <a:lnTo>
                    <a:pt x="489851" y="105410"/>
                  </a:lnTo>
                  <a:close/>
                </a:path>
                <a:path w="577850" h="331470">
                  <a:moveTo>
                    <a:pt x="507288" y="139700"/>
                  </a:moveTo>
                  <a:lnTo>
                    <a:pt x="489851" y="139700"/>
                  </a:lnTo>
                  <a:lnTo>
                    <a:pt x="489851" y="157480"/>
                  </a:lnTo>
                  <a:lnTo>
                    <a:pt x="507288" y="157480"/>
                  </a:lnTo>
                  <a:lnTo>
                    <a:pt x="507288" y="139700"/>
                  </a:lnTo>
                  <a:close/>
                </a:path>
                <a:path w="577850" h="331470">
                  <a:moveTo>
                    <a:pt x="542251" y="105410"/>
                  </a:moveTo>
                  <a:lnTo>
                    <a:pt x="524814" y="105410"/>
                  </a:lnTo>
                  <a:lnTo>
                    <a:pt x="507288" y="105410"/>
                  </a:lnTo>
                  <a:lnTo>
                    <a:pt x="507288" y="121920"/>
                  </a:lnTo>
                  <a:lnTo>
                    <a:pt x="524814" y="121920"/>
                  </a:lnTo>
                  <a:lnTo>
                    <a:pt x="524814" y="139700"/>
                  </a:lnTo>
                  <a:lnTo>
                    <a:pt x="542251" y="139700"/>
                  </a:lnTo>
                  <a:lnTo>
                    <a:pt x="542251" y="105410"/>
                  </a:lnTo>
                  <a:close/>
                </a:path>
                <a:path w="577850" h="331470">
                  <a:moveTo>
                    <a:pt x="542251" y="69850"/>
                  </a:moveTo>
                  <a:lnTo>
                    <a:pt x="524814" y="69850"/>
                  </a:lnTo>
                  <a:lnTo>
                    <a:pt x="524814" y="87630"/>
                  </a:lnTo>
                  <a:lnTo>
                    <a:pt x="542251" y="87630"/>
                  </a:lnTo>
                  <a:lnTo>
                    <a:pt x="542251" y="69850"/>
                  </a:lnTo>
                  <a:close/>
                </a:path>
                <a:path w="577850" h="331470">
                  <a:moveTo>
                    <a:pt x="542251" y="17780"/>
                  </a:moveTo>
                  <a:lnTo>
                    <a:pt x="524814" y="17780"/>
                  </a:lnTo>
                  <a:lnTo>
                    <a:pt x="524814" y="0"/>
                  </a:lnTo>
                  <a:lnTo>
                    <a:pt x="507288" y="0"/>
                  </a:lnTo>
                  <a:lnTo>
                    <a:pt x="489851" y="0"/>
                  </a:lnTo>
                  <a:lnTo>
                    <a:pt x="472325" y="0"/>
                  </a:lnTo>
                  <a:lnTo>
                    <a:pt x="454888" y="0"/>
                  </a:lnTo>
                  <a:lnTo>
                    <a:pt x="454888" y="17780"/>
                  </a:lnTo>
                  <a:lnTo>
                    <a:pt x="437362" y="17780"/>
                  </a:lnTo>
                  <a:lnTo>
                    <a:pt x="437362" y="52070"/>
                  </a:lnTo>
                  <a:lnTo>
                    <a:pt x="454888" y="52070"/>
                  </a:lnTo>
                  <a:lnTo>
                    <a:pt x="454888" y="69850"/>
                  </a:lnTo>
                  <a:lnTo>
                    <a:pt x="437362" y="69850"/>
                  </a:lnTo>
                  <a:lnTo>
                    <a:pt x="437362" y="87630"/>
                  </a:lnTo>
                  <a:lnTo>
                    <a:pt x="419823" y="87630"/>
                  </a:lnTo>
                  <a:lnTo>
                    <a:pt x="419823" y="105410"/>
                  </a:lnTo>
                  <a:lnTo>
                    <a:pt x="437362" y="105410"/>
                  </a:lnTo>
                  <a:lnTo>
                    <a:pt x="454888" y="105410"/>
                  </a:lnTo>
                  <a:lnTo>
                    <a:pt x="472325" y="105410"/>
                  </a:lnTo>
                  <a:lnTo>
                    <a:pt x="472325" y="87630"/>
                  </a:lnTo>
                  <a:lnTo>
                    <a:pt x="489851" y="87630"/>
                  </a:lnTo>
                  <a:lnTo>
                    <a:pt x="489851" y="105410"/>
                  </a:lnTo>
                  <a:lnTo>
                    <a:pt x="507288" y="105410"/>
                  </a:lnTo>
                  <a:lnTo>
                    <a:pt x="507288" y="69850"/>
                  </a:lnTo>
                  <a:lnTo>
                    <a:pt x="524814" y="69850"/>
                  </a:lnTo>
                  <a:lnTo>
                    <a:pt x="524814" y="52070"/>
                  </a:lnTo>
                  <a:lnTo>
                    <a:pt x="507288" y="52070"/>
                  </a:lnTo>
                  <a:lnTo>
                    <a:pt x="507288" y="35560"/>
                  </a:lnTo>
                  <a:lnTo>
                    <a:pt x="489851" y="35560"/>
                  </a:lnTo>
                  <a:lnTo>
                    <a:pt x="489851" y="69850"/>
                  </a:lnTo>
                  <a:lnTo>
                    <a:pt x="472325" y="69850"/>
                  </a:lnTo>
                  <a:lnTo>
                    <a:pt x="472325" y="17780"/>
                  </a:lnTo>
                  <a:lnTo>
                    <a:pt x="489851" y="17780"/>
                  </a:lnTo>
                  <a:lnTo>
                    <a:pt x="507288" y="17780"/>
                  </a:lnTo>
                  <a:lnTo>
                    <a:pt x="507288" y="35560"/>
                  </a:lnTo>
                  <a:lnTo>
                    <a:pt x="524814" y="35560"/>
                  </a:lnTo>
                  <a:lnTo>
                    <a:pt x="524814" y="52070"/>
                  </a:lnTo>
                  <a:lnTo>
                    <a:pt x="542251" y="52070"/>
                  </a:lnTo>
                  <a:lnTo>
                    <a:pt x="542251" y="17780"/>
                  </a:lnTo>
                  <a:close/>
                </a:path>
                <a:path w="577850" h="331470">
                  <a:moveTo>
                    <a:pt x="577303" y="296519"/>
                  </a:moveTo>
                  <a:lnTo>
                    <a:pt x="559777" y="296519"/>
                  </a:lnTo>
                  <a:lnTo>
                    <a:pt x="559777" y="313994"/>
                  </a:lnTo>
                  <a:lnTo>
                    <a:pt x="577303" y="313994"/>
                  </a:lnTo>
                  <a:lnTo>
                    <a:pt x="577303" y="296519"/>
                  </a:lnTo>
                  <a:close/>
                </a:path>
                <a:path w="577850" h="331470">
                  <a:moveTo>
                    <a:pt x="577303" y="244132"/>
                  </a:moveTo>
                  <a:lnTo>
                    <a:pt x="559777" y="244132"/>
                  </a:lnTo>
                  <a:lnTo>
                    <a:pt x="559777" y="209181"/>
                  </a:lnTo>
                  <a:lnTo>
                    <a:pt x="542340" y="209181"/>
                  </a:lnTo>
                  <a:lnTo>
                    <a:pt x="542340" y="279044"/>
                  </a:lnTo>
                  <a:lnTo>
                    <a:pt x="559777" y="279044"/>
                  </a:lnTo>
                  <a:lnTo>
                    <a:pt x="577303" y="279044"/>
                  </a:lnTo>
                  <a:lnTo>
                    <a:pt x="577303" y="244132"/>
                  </a:lnTo>
                  <a:close/>
                </a:path>
                <a:path w="577850" h="331470">
                  <a:moveTo>
                    <a:pt x="577303" y="104355"/>
                  </a:moveTo>
                  <a:lnTo>
                    <a:pt x="559777" y="104355"/>
                  </a:lnTo>
                  <a:lnTo>
                    <a:pt x="559777" y="139319"/>
                  </a:lnTo>
                  <a:lnTo>
                    <a:pt x="542340" y="139319"/>
                  </a:lnTo>
                  <a:lnTo>
                    <a:pt x="542340" y="174256"/>
                  </a:lnTo>
                  <a:lnTo>
                    <a:pt x="559777" y="174256"/>
                  </a:lnTo>
                  <a:lnTo>
                    <a:pt x="559777" y="191706"/>
                  </a:lnTo>
                  <a:lnTo>
                    <a:pt x="577303" y="191706"/>
                  </a:lnTo>
                  <a:lnTo>
                    <a:pt x="577303" y="104355"/>
                  </a:lnTo>
                  <a:close/>
                </a:path>
                <a:path w="577850" h="331470">
                  <a:moveTo>
                    <a:pt x="577303" y="51968"/>
                  </a:moveTo>
                  <a:lnTo>
                    <a:pt x="559777" y="51968"/>
                  </a:lnTo>
                  <a:lnTo>
                    <a:pt x="542340" y="51968"/>
                  </a:lnTo>
                  <a:lnTo>
                    <a:pt x="542340" y="104355"/>
                  </a:lnTo>
                  <a:lnTo>
                    <a:pt x="559777" y="104355"/>
                  </a:lnTo>
                  <a:lnTo>
                    <a:pt x="559777" y="69443"/>
                  </a:lnTo>
                  <a:lnTo>
                    <a:pt x="577303" y="69443"/>
                  </a:lnTo>
                  <a:lnTo>
                    <a:pt x="577303" y="51968"/>
                  </a:lnTo>
                  <a:close/>
                </a:path>
              </a:pathLst>
            </a:custGeom>
            <a:solidFill>
              <a:srgbClr val="00412C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7642885" y="5363616"/>
              <a:ext cx="577850" cy="297180"/>
            </a:xfrm>
            <a:custGeom>
              <a:avLst/>
              <a:gdLst/>
              <a:ahLst/>
              <a:cxnLst/>
              <a:rect l="l" t="t" r="r" b="b"/>
              <a:pathLst>
                <a:path w="577850" h="297179">
                  <a:moveTo>
                    <a:pt x="17526" y="279514"/>
                  </a:moveTo>
                  <a:lnTo>
                    <a:pt x="0" y="279514"/>
                  </a:lnTo>
                  <a:lnTo>
                    <a:pt x="0" y="296964"/>
                  </a:lnTo>
                  <a:lnTo>
                    <a:pt x="17526" y="296964"/>
                  </a:lnTo>
                  <a:lnTo>
                    <a:pt x="17526" y="279514"/>
                  </a:lnTo>
                  <a:close/>
                </a:path>
                <a:path w="577850" h="297179">
                  <a:moveTo>
                    <a:pt x="34963" y="262051"/>
                  </a:moveTo>
                  <a:lnTo>
                    <a:pt x="17526" y="262051"/>
                  </a:lnTo>
                  <a:lnTo>
                    <a:pt x="17526" y="279514"/>
                  </a:lnTo>
                  <a:lnTo>
                    <a:pt x="34963" y="279514"/>
                  </a:lnTo>
                  <a:lnTo>
                    <a:pt x="34963" y="262051"/>
                  </a:lnTo>
                  <a:close/>
                </a:path>
                <a:path w="577850" h="297179">
                  <a:moveTo>
                    <a:pt x="34963" y="227088"/>
                  </a:moveTo>
                  <a:lnTo>
                    <a:pt x="17526" y="227088"/>
                  </a:lnTo>
                  <a:lnTo>
                    <a:pt x="17526" y="139750"/>
                  </a:lnTo>
                  <a:lnTo>
                    <a:pt x="0" y="139750"/>
                  </a:lnTo>
                  <a:lnTo>
                    <a:pt x="0" y="244576"/>
                  </a:lnTo>
                  <a:lnTo>
                    <a:pt x="17526" y="244576"/>
                  </a:lnTo>
                  <a:lnTo>
                    <a:pt x="34963" y="244576"/>
                  </a:lnTo>
                  <a:lnTo>
                    <a:pt x="34963" y="227088"/>
                  </a:lnTo>
                  <a:close/>
                </a:path>
                <a:path w="577850" h="297179">
                  <a:moveTo>
                    <a:pt x="34963" y="104838"/>
                  </a:moveTo>
                  <a:lnTo>
                    <a:pt x="17526" y="104838"/>
                  </a:lnTo>
                  <a:lnTo>
                    <a:pt x="0" y="104838"/>
                  </a:lnTo>
                  <a:lnTo>
                    <a:pt x="0" y="122262"/>
                  </a:lnTo>
                  <a:lnTo>
                    <a:pt x="17526" y="122262"/>
                  </a:lnTo>
                  <a:lnTo>
                    <a:pt x="17526" y="139750"/>
                  </a:lnTo>
                  <a:lnTo>
                    <a:pt x="34963" y="139750"/>
                  </a:lnTo>
                  <a:lnTo>
                    <a:pt x="34963" y="104838"/>
                  </a:lnTo>
                  <a:close/>
                </a:path>
                <a:path w="577850" h="297179">
                  <a:moveTo>
                    <a:pt x="52489" y="122262"/>
                  </a:moveTo>
                  <a:lnTo>
                    <a:pt x="35052" y="122262"/>
                  </a:lnTo>
                  <a:lnTo>
                    <a:pt x="35052" y="139750"/>
                  </a:lnTo>
                  <a:lnTo>
                    <a:pt x="52489" y="139750"/>
                  </a:lnTo>
                  <a:lnTo>
                    <a:pt x="52489" y="122262"/>
                  </a:lnTo>
                  <a:close/>
                </a:path>
                <a:path w="577850" h="297179">
                  <a:moveTo>
                    <a:pt x="70015" y="209613"/>
                  </a:moveTo>
                  <a:lnTo>
                    <a:pt x="52489" y="209613"/>
                  </a:lnTo>
                  <a:lnTo>
                    <a:pt x="52489" y="227088"/>
                  </a:lnTo>
                  <a:lnTo>
                    <a:pt x="35052" y="227088"/>
                  </a:lnTo>
                  <a:lnTo>
                    <a:pt x="35052" y="244576"/>
                  </a:lnTo>
                  <a:lnTo>
                    <a:pt x="52489" y="244576"/>
                  </a:lnTo>
                  <a:lnTo>
                    <a:pt x="70015" y="244576"/>
                  </a:lnTo>
                  <a:lnTo>
                    <a:pt x="70015" y="209613"/>
                  </a:lnTo>
                  <a:close/>
                </a:path>
                <a:path w="577850" h="297179">
                  <a:moveTo>
                    <a:pt x="70015" y="104838"/>
                  </a:moveTo>
                  <a:lnTo>
                    <a:pt x="52489" y="104838"/>
                  </a:lnTo>
                  <a:lnTo>
                    <a:pt x="52489" y="122262"/>
                  </a:lnTo>
                  <a:lnTo>
                    <a:pt x="70015" y="122262"/>
                  </a:lnTo>
                  <a:lnTo>
                    <a:pt x="70015" y="104838"/>
                  </a:lnTo>
                  <a:close/>
                </a:path>
                <a:path w="577850" h="297179">
                  <a:moveTo>
                    <a:pt x="87452" y="122262"/>
                  </a:moveTo>
                  <a:lnTo>
                    <a:pt x="70015" y="122262"/>
                  </a:lnTo>
                  <a:lnTo>
                    <a:pt x="70015" y="157226"/>
                  </a:lnTo>
                  <a:lnTo>
                    <a:pt x="52489" y="157226"/>
                  </a:lnTo>
                  <a:lnTo>
                    <a:pt x="35052" y="157226"/>
                  </a:lnTo>
                  <a:lnTo>
                    <a:pt x="35052" y="209613"/>
                  </a:lnTo>
                  <a:lnTo>
                    <a:pt x="52489" y="209613"/>
                  </a:lnTo>
                  <a:lnTo>
                    <a:pt x="52489" y="192138"/>
                  </a:lnTo>
                  <a:lnTo>
                    <a:pt x="70015" y="192138"/>
                  </a:lnTo>
                  <a:lnTo>
                    <a:pt x="70015" y="174701"/>
                  </a:lnTo>
                  <a:lnTo>
                    <a:pt x="87452" y="174701"/>
                  </a:lnTo>
                  <a:lnTo>
                    <a:pt x="87452" y="122262"/>
                  </a:lnTo>
                  <a:close/>
                </a:path>
                <a:path w="577850" h="297179">
                  <a:moveTo>
                    <a:pt x="104978" y="192138"/>
                  </a:moveTo>
                  <a:lnTo>
                    <a:pt x="87452" y="192138"/>
                  </a:lnTo>
                  <a:lnTo>
                    <a:pt x="87452" y="209613"/>
                  </a:lnTo>
                  <a:lnTo>
                    <a:pt x="104978" y="209613"/>
                  </a:lnTo>
                  <a:lnTo>
                    <a:pt x="104978" y="192138"/>
                  </a:lnTo>
                  <a:close/>
                </a:path>
                <a:path w="577850" h="297179">
                  <a:moveTo>
                    <a:pt x="122415" y="279514"/>
                  </a:moveTo>
                  <a:lnTo>
                    <a:pt x="104978" y="279514"/>
                  </a:lnTo>
                  <a:lnTo>
                    <a:pt x="87452" y="279514"/>
                  </a:lnTo>
                  <a:lnTo>
                    <a:pt x="70015" y="279514"/>
                  </a:lnTo>
                  <a:lnTo>
                    <a:pt x="70015" y="262051"/>
                  </a:lnTo>
                  <a:lnTo>
                    <a:pt x="52489" y="262051"/>
                  </a:lnTo>
                  <a:lnTo>
                    <a:pt x="52489" y="296964"/>
                  </a:lnTo>
                  <a:lnTo>
                    <a:pt x="70015" y="296964"/>
                  </a:lnTo>
                  <a:lnTo>
                    <a:pt x="87452" y="296964"/>
                  </a:lnTo>
                  <a:lnTo>
                    <a:pt x="104978" y="296964"/>
                  </a:lnTo>
                  <a:lnTo>
                    <a:pt x="122415" y="296964"/>
                  </a:lnTo>
                  <a:lnTo>
                    <a:pt x="122415" y="279514"/>
                  </a:lnTo>
                  <a:close/>
                </a:path>
                <a:path w="577850" h="297179">
                  <a:moveTo>
                    <a:pt x="122415" y="244576"/>
                  </a:moveTo>
                  <a:lnTo>
                    <a:pt x="104978" y="244576"/>
                  </a:lnTo>
                  <a:lnTo>
                    <a:pt x="87452" y="244576"/>
                  </a:lnTo>
                  <a:lnTo>
                    <a:pt x="70015" y="244576"/>
                  </a:lnTo>
                  <a:lnTo>
                    <a:pt x="70015" y="262051"/>
                  </a:lnTo>
                  <a:lnTo>
                    <a:pt x="87452" y="262051"/>
                  </a:lnTo>
                  <a:lnTo>
                    <a:pt x="104978" y="262051"/>
                  </a:lnTo>
                  <a:lnTo>
                    <a:pt x="122415" y="262051"/>
                  </a:lnTo>
                  <a:lnTo>
                    <a:pt x="122415" y="244576"/>
                  </a:lnTo>
                  <a:close/>
                </a:path>
                <a:path w="577850" h="297179">
                  <a:moveTo>
                    <a:pt x="122415" y="209613"/>
                  </a:moveTo>
                  <a:lnTo>
                    <a:pt x="104978" y="209613"/>
                  </a:lnTo>
                  <a:lnTo>
                    <a:pt x="104978" y="227088"/>
                  </a:lnTo>
                  <a:lnTo>
                    <a:pt x="122415" y="227088"/>
                  </a:lnTo>
                  <a:lnTo>
                    <a:pt x="122415" y="209613"/>
                  </a:lnTo>
                  <a:close/>
                </a:path>
                <a:path w="577850" h="297179">
                  <a:moveTo>
                    <a:pt x="122415" y="174701"/>
                  </a:moveTo>
                  <a:lnTo>
                    <a:pt x="104978" y="174701"/>
                  </a:lnTo>
                  <a:lnTo>
                    <a:pt x="104978" y="192138"/>
                  </a:lnTo>
                  <a:lnTo>
                    <a:pt x="122415" y="192138"/>
                  </a:lnTo>
                  <a:lnTo>
                    <a:pt x="122415" y="174701"/>
                  </a:lnTo>
                  <a:close/>
                </a:path>
                <a:path w="577850" h="297179">
                  <a:moveTo>
                    <a:pt x="122415" y="139750"/>
                  </a:moveTo>
                  <a:lnTo>
                    <a:pt x="104978" y="139750"/>
                  </a:lnTo>
                  <a:lnTo>
                    <a:pt x="104978" y="157226"/>
                  </a:lnTo>
                  <a:lnTo>
                    <a:pt x="122415" y="157226"/>
                  </a:lnTo>
                  <a:lnTo>
                    <a:pt x="122415" y="139750"/>
                  </a:lnTo>
                  <a:close/>
                </a:path>
                <a:path w="577850" h="297179">
                  <a:moveTo>
                    <a:pt x="122415" y="104838"/>
                  </a:moveTo>
                  <a:lnTo>
                    <a:pt x="104978" y="104838"/>
                  </a:lnTo>
                  <a:lnTo>
                    <a:pt x="104978" y="122262"/>
                  </a:lnTo>
                  <a:lnTo>
                    <a:pt x="122415" y="122262"/>
                  </a:lnTo>
                  <a:lnTo>
                    <a:pt x="122415" y="104838"/>
                  </a:lnTo>
                  <a:close/>
                </a:path>
                <a:path w="577850" h="297179">
                  <a:moveTo>
                    <a:pt x="174904" y="0"/>
                  </a:moveTo>
                  <a:lnTo>
                    <a:pt x="157467" y="0"/>
                  </a:lnTo>
                  <a:lnTo>
                    <a:pt x="157467" y="17449"/>
                  </a:lnTo>
                  <a:lnTo>
                    <a:pt x="174904" y="17449"/>
                  </a:lnTo>
                  <a:lnTo>
                    <a:pt x="174904" y="0"/>
                  </a:lnTo>
                  <a:close/>
                </a:path>
                <a:path w="577850" h="297179">
                  <a:moveTo>
                    <a:pt x="227393" y="87350"/>
                  </a:moveTo>
                  <a:lnTo>
                    <a:pt x="209867" y="87350"/>
                  </a:lnTo>
                  <a:lnTo>
                    <a:pt x="209867" y="104800"/>
                  </a:lnTo>
                  <a:lnTo>
                    <a:pt x="227393" y="104800"/>
                  </a:lnTo>
                  <a:lnTo>
                    <a:pt x="227393" y="87350"/>
                  </a:lnTo>
                  <a:close/>
                </a:path>
                <a:path w="577850" h="297179">
                  <a:moveTo>
                    <a:pt x="279882" y="0"/>
                  </a:moveTo>
                  <a:lnTo>
                    <a:pt x="262445" y="0"/>
                  </a:lnTo>
                  <a:lnTo>
                    <a:pt x="262445" y="17449"/>
                  </a:lnTo>
                  <a:lnTo>
                    <a:pt x="279882" y="17449"/>
                  </a:lnTo>
                  <a:lnTo>
                    <a:pt x="279882" y="0"/>
                  </a:lnTo>
                  <a:close/>
                </a:path>
                <a:path w="577850" h="297179">
                  <a:moveTo>
                    <a:pt x="314845" y="34937"/>
                  </a:moveTo>
                  <a:lnTo>
                    <a:pt x="297408" y="34937"/>
                  </a:lnTo>
                  <a:lnTo>
                    <a:pt x="279882" y="34937"/>
                  </a:lnTo>
                  <a:lnTo>
                    <a:pt x="262445" y="34937"/>
                  </a:lnTo>
                  <a:lnTo>
                    <a:pt x="262445" y="52412"/>
                  </a:lnTo>
                  <a:lnTo>
                    <a:pt x="244919" y="52412"/>
                  </a:lnTo>
                  <a:lnTo>
                    <a:pt x="227393" y="52412"/>
                  </a:lnTo>
                  <a:lnTo>
                    <a:pt x="209867" y="52412"/>
                  </a:lnTo>
                  <a:lnTo>
                    <a:pt x="209867" y="34937"/>
                  </a:lnTo>
                  <a:lnTo>
                    <a:pt x="227393" y="34937"/>
                  </a:lnTo>
                  <a:lnTo>
                    <a:pt x="227393" y="17449"/>
                  </a:lnTo>
                  <a:lnTo>
                    <a:pt x="244919" y="17449"/>
                  </a:lnTo>
                  <a:lnTo>
                    <a:pt x="244919" y="0"/>
                  </a:lnTo>
                  <a:lnTo>
                    <a:pt x="227393" y="0"/>
                  </a:lnTo>
                  <a:lnTo>
                    <a:pt x="209867" y="0"/>
                  </a:lnTo>
                  <a:lnTo>
                    <a:pt x="209867" y="17449"/>
                  </a:lnTo>
                  <a:lnTo>
                    <a:pt x="192430" y="17449"/>
                  </a:lnTo>
                  <a:lnTo>
                    <a:pt x="174904" y="17449"/>
                  </a:lnTo>
                  <a:lnTo>
                    <a:pt x="174904" y="34937"/>
                  </a:lnTo>
                  <a:lnTo>
                    <a:pt x="192430" y="34937"/>
                  </a:lnTo>
                  <a:lnTo>
                    <a:pt x="192430" y="69875"/>
                  </a:lnTo>
                  <a:lnTo>
                    <a:pt x="174904" y="69875"/>
                  </a:lnTo>
                  <a:lnTo>
                    <a:pt x="157467" y="69875"/>
                  </a:lnTo>
                  <a:lnTo>
                    <a:pt x="157467" y="52412"/>
                  </a:lnTo>
                  <a:lnTo>
                    <a:pt x="174904" y="52412"/>
                  </a:lnTo>
                  <a:lnTo>
                    <a:pt x="174904" y="34937"/>
                  </a:lnTo>
                  <a:lnTo>
                    <a:pt x="157467" y="34937"/>
                  </a:lnTo>
                  <a:lnTo>
                    <a:pt x="157467" y="17449"/>
                  </a:lnTo>
                  <a:lnTo>
                    <a:pt x="139941" y="17449"/>
                  </a:lnTo>
                  <a:lnTo>
                    <a:pt x="139941" y="69875"/>
                  </a:lnTo>
                  <a:lnTo>
                    <a:pt x="122504" y="69875"/>
                  </a:lnTo>
                  <a:lnTo>
                    <a:pt x="122504" y="104800"/>
                  </a:lnTo>
                  <a:lnTo>
                    <a:pt x="139941" y="104800"/>
                  </a:lnTo>
                  <a:lnTo>
                    <a:pt x="157467" y="104800"/>
                  </a:lnTo>
                  <a:lnTo>
                    <a:pt x="174904" y="104800"/>
                  </a:lnTo>
                  <a:lnTo>
                    <a:pt x="192430" y="104800"/>
                  </a:lnTo>
                  <a:lnTo>
                    <a:pt x="192430" y="87350"/>
                  </a:lnTo>
                  <a:lnTo>
                    <a:pt x="209867" y="87350"/>
                  </a:lnTo>
                  <a:lnTo>
                    <a:pt x="209867" y="69875"/>
                  </a:lnTo>
                  <a:lnTo>
                    <a:pt x="227393" y="69875"/>
                  </a:lnTo>
                  <a:lnTo>
                    <a:pt x="227393" y="87350"/>
                  </a:lnTo>
                  <a:lnTo>
                    <a:pt x="244919" y="87350"/>
                  </a:lnTo>
                  <a:lnTo>
                    <a:pt x="244919" y="69875"/>
                  </a:lnTo>
                  <a:lnTo>
                    <a:pt x="262445" y="69875"/>
                  </a:lnTo>
                  <a:lnTo>
                    <a:pt x="279882" y="69875"/>
                  </a:lnTo>
                  <a:lnTo>
                    <a:pt x="279882" y="52412"/>
                  </a:lnTo>
                  <a:lnTo>
                    <a:pt x="297408" y="52412"/>
                  </a:lnTo>
                  <a:lnTo>
                    <a:pt x="314845" y="52412"/>
                  </a:lnTo>
                  <a:lnTo>
                    <a:pt x="314845" y="34937"/>
                  </a:lnTo>
                  <a:close/>
                </a:path>
                <a:path w="577850" h="297179">
                  <a:moveTo>
                    <a:pt x="349910" y="52412"/>
                  </a:moveTo>
                  <a:lnTo>
                    <a:pt x="332371" y="52412"/>
                  </a:lnTo>
                  <a:lnTo>
                    <a:pt x="314845" y="52412"/>
                  </a:lnTo>
                  <a:lnTo>
                    <a:pt x="314845" y="87350"/>
                  </a:lnTo>
                  <a:lnTo>
                    <a:pt x="297408" y="87350"/>
                  </a:lnTo>
                  <a:lnTo>
                    <a:pt x="297408" y="69875"/>
                  </a:lnTo>
                  <a:lnTo>
                    <a:pt x="279882" y="69875"/>
                  </a:lnTo>
                  <a:lnTo>
                    <a:pt x="279882" y="87350"/>
                  </a:lnTo>
                  <a:lnTo>
                    <a:pt x="262445" y="87350"/>
                  </a:lnTo>
                  <a:lnTo>
                    <a:pt x="244919" y="87350"/>
                  </a:lnTo>
                  <a:lnTo>
                    <a:pt x="244919" y="104800"/>
                  </a:lnTo>
                  <a:lnTo>
                    <a:pt x="262445" y="104800"/>
                  </a:lnTo>
                  <a:lnTo>
                    <a:pt x="279882" y="104800"/>
                  </a:lnTo>
                  <a:lnTo>
                    <a:pt x="297408" y="104800"/>
                  </a:lnTo>
                  <a:lnTo>
                    <a:pt x="314845" y="104800"/>
                  </a:lnTo>
                  <a:lnTo>
                    <a:pt x="332371" y="104800"/>
                  </a:lnTo>
                  <a:lnTo>
                    <a:pt x="332371" y="69875"/>
                  </a:lnTo>
                  <a:lnTo>
                    <a:pt x="349910" y="69875"/>
                  </a:lnTo>
                  <a:lnTo>
                    <a:pt x="349910" y="52412"/>
                  </a:lnTo>
                  <a:close/>
                </a:path>
                <a:path w="577850" h="297179">
                  <a:moveTo>
                    <a:pt x="349910" y="0"/>
                  </a:moveTo>
                  <a:lnTo>
                    <a:pt x="332371" y="0"/>
                  </a:lnTo>
                  <a:lnTo>
                    <a:pt x="314845" y="0"/>
                  </a:lnTo>
                  <a:lnTo>
                    <a:pt x="297408" y="0"/>
                  </a:lnTo>
                  <a:lnTo>
                    <a:pt x="297408" y="17449"/>
                  </a:lnTo>
                  <a:lnTo>
                    <a:pt x="314845" y="17449"/>
                  </a:lnTo>
                  <a:lnTo>
                    <a:pt x="332371" y="17449"/>
                  </a:lnTo>
                  <a:lnTo>
                    <a:pt x="332371" y="34937"/>
                  </a:lnTo>
                  <a:lnTo>
                    <a:pt x="349910" y="34937"/>
                  </a:lnTo>
                  <a:lnTo>
                    <a:pt x="349910" y="0"/>
                  </a:lnTo>
                  <a:close/>
                </a:path>
                <a:path w="577850" h="297179">
                  <a:moveTo>
                    <a:pt x="384860" y="87350"/>
                  </a:moveTo>
                  <a:lnTo>
                    <a:pt x="367334" y="87350"/>
                  </a:lnTo>
                  <a:lnTo>
                    <a:pt x="367334" y="104800"/>
                  </a:lnTo>
                  <a:lnTo>
                    <a:pt x="384860" y="104800"/>
                  </a:lnTo>
                  <a:lnTo>
                    <a:pt x="384860" y="87350"/>
                  </a:lnTo>
                  <a:close/>
                </a:path>
                <a:path w="577850" h="297179">
                  <a:moveTo>
                    <a:pt x="384860" y="0"/>
                  </a:moveTo>
                  <a:lnTo>
                    <a:pt x="367334" y="0"/>
                  </a:lnTo>
                  <a:lnTo>
                    <a:pt x="367334" y="52412"/>
                  </a:lnTo>
                  <a:lnTo>
                    <a:pt x="384860" y="52412"/>
                  </a:lnTo>
                  <a:lnTo>
                    <a:pt x="384860" y="0"/>
                  </a:lnTo>
                  <a:close/>
                </a:path>
                <a:path w="577850" h="297179">
                  <a:moveTo>
                    <a:pt x="437362" y="87350"/>
                  </a:moveTo>
                  <a:lnTo>
                    <a:pt x="419823" y="87350"/>
                  </a:lnTo>
                  <a:lnTo>
                    <a:pt x="419823" y="104800"/>
                  </a:lnTo>
                  <a:lnTo>
                    <a:pt x="437362" y="104800"/>
                  </a:lnTo>
                  <a:lnTo>
                    <a:pt x="437362" y="87350"/>
                  </a:lnTo>
                  <a:close/>
                </a:path>
                <a:path w="577850" h="297179">
                  <a:moveTo>
                    <a:pt x="437362" y="0"/>
                  </a:moveTo>
                  <a:lnTo>
                    <a:pt x="419823" y="0"/>
                  </a:lnTo>
                  <a:lnTo>
                    <a:pt x="419823" y="17449"/>
                  </a:lnTo>
                  <a:lnTo>
                    <a:pt x="437362" y="17449"/>
                  </a:lnTo>
                  <a:lnTo>
                    <a:pt x="437362" y="0"/>
                  </a:lnTo>
                  <a:close/>
                </a:path>
                <a:path w="577850" h="297179">
                  <a:moveTo>
                    <a:pt x="489851" y="87350"/>
                  </a:moveTo>
                  <a:lnTo>
                    <a:pt x="472325" y="87350"/>
                  </a:lnTo>
                  <a:lnTo>
                    <a:pt x="472325" y="104800"/>
                  </a:lnTo>
                  <a:lnTo>
                    <a:pt x="489851" y="104800"/>
                  </a:lnTo>
                  <a:lnTo>
                    <a:pt x="489851" y="87350"/>
                  </a:lnTo>
                  <a:close/>
                </a:path>
                <a:path w="577850" h="297179">
                  <a:moveTo>
                    <a:pt x="542251" y="0"/>
                  </a:moveTo>
                  <a:lnTo>
                    <a:pt x="524814" y="0"/>
                  </a:lnTo>
                  <a:lnTo>
                    <a:pt x="524814" y="17449"/>
                  </a:lnTo>
                  <a:lnTo>
                    <a:pt x="507288" y="17449"/>
                  </a:lnTo>
                  <a:lnTo>
                    <a:pt x="507288" y="34937"/>
                  </a:lnTo>
                  <a:lnTo>
                    <a:pt x="489851" y="34937"/>
                  </a:lnTo>
                  <a:lnTo>
                    <a:pt x="489851" y="17449"/>
                  </a:lnTo>
                  <a:lnTo>
                    <a:pt x="472325" y="17449"/>
                  </a:lnTo>
                  <a:lnTo>
                    <a:pt x="454888" y="17449"/>
                  </a:lnTo>
                  <a:lnTo>
                    <a:pt x="454888" y="34937"/>
                  </a:lnTo>
                  <a:lnTo>
                    <a:pt x="437362" y="34937"/>
                  </a:lnTo>
                  <a:lnTo>
                    <a:pt x="437362" y="52412"/>
                  </a:lnTo>
                  <a:lnTo>
                    <a:pt x="419823" y="52412"/>
                  </a:lnTo>
                  <a:lnTo>
                    <a:pt x="419823" y="17449"/>
                  </a:lnTo>
                  <a:lnTo>
                    <a:pt x="402297" y="17449"/>
                  </a:lnTo>
                  <a:lnTo>
                    <a:pt x="402297" y="69875"/>
                  </a:lnTo>
                  <a:lnTo>
                    <a:pt x="384860" y="69875"/>
                  </a:lnTo>
                  <a:lnTo>
                    <a:pt x="384860" y="87350"/>
                  </a:lnTo>
                  <a:lnTo>
                    <a:pt x="402297" y="87350"/>
                  </a:lnTo>
                  <a:lnTo>
                    <a:pt x="419823" y="87350"/>
                  </a:lnTo>
                  <a:lnTo>
                    <a:pt x="419823" y="69875"/>
                  </a:lnTo>
                  <a:lnTo>
                    <a:pt x="437362" y="69875"/>
                  </a:lnTo>
                  <a:lnTo>
                    <a:pt x="437362" y="87350"/>
                  </a:lnTo>
                  <a:lnTo>
                    <a:pt x="454888" y="87350"/>
                  </a:lnTo>
                  <a:lnTo>
                    <a:pt x="454888" y="52412"/>
                  </a:lnTo>
                  <a:lnTo>
                    <a:pt x="472325" y="52412"/>
                  </a:lnTo>
                  <a:lnTo>
                    <a:pt x="472325" y="69875"/>
                  </a:lnTo>
                  <a:lnTo>
                    <a:pt x="489851" y="69875"/>
                  </a:lnTo>
                  <a:lnTo>
                    <a:pt x="489851" y="52412"/>
                  </a:lnTo>
                  <a:lnTo>
                    <a:pt x="507288" y="52412"/>
                  </a:lnTo>
                  <a:lnTo>
                    <a:pt x="507288" y="69875"/>
                  </a:lnTo>
                  <a:lnTo>
                    <a:pt x="489851" y="69875"/>
                  </a:lnTo>
                  <a:lnTo>
                    <a:pt x="489851" y="87350"/>
                  </a:lnTo>
                  <a:lnTo>
                    <a:pt x="507288" y="87350"/>
                  </a:lnTo>
                  <a:lnTo>
                    <a:pt x="507288" y="104800"/>
                  </a:lnTo>
                  <a:lnTo>
                    <a:pt x="524814" y="104800"/>
                  </a:lnTo>
                  <a:lnTo>
                    <a:pt x="524814" y="34937"/>
                  </a:lnTo>
                  <a:lnTo>
                    <a:pt x="542251" y="34937"/>
                  </a:lnTo>
                  <a:lnTo>
                    <a:pt x="542251" y="0"/>
                  </a:lnTo>
                  <a:close/>
                </a:path>
                <a:path w="577850" h="297179">
                  <a:moveTo>
                    <a:pt x="559777" y="0"/>
                  </a:moveTo>
                  <a:lnTo>
                    <a:pt x="542340" y="0"/>
                  </a:lnTo>
                  <a:lnTo>
                    <a:pt x="542340" y="17449"/>
                  </a:lnTo>
                  <a:lnTo>
                    <a:pt x="559777" y="17449"/>
                  </a:lnTo>
                  <a:lnTo>
                    <a:pt x="559777" y="0"/>
                  </a:lnTo>
                  <a:close/>
                </a:path>
                <a:path w="577850" h="297179">
                  <a:moveTo>
                    <a:pt x="577303" y="157226"/>
                  </a:moveTo>
                  <a:lnTo>
                    <a:pt x="559777" y="157226"/>
                  </a:lnTo>
                  <a:lnTo>
                    <a:pt x="559777" y="174701"/>
                  </a:lnTo>
                  <a:lnTo>
                    <a:pt x="577303" y="174701"/>
                  </a:lnTo>
                  <a:lnTo>
                    <a:pt x="577303" y="157226"/>
                  </a:lnTo>
                  <a:close/>
                </a:path>
                <a:path w="577850" h="297179">
                  <a:moveTo>
                    <a:pt x="577303" y="17449"/>
                  </a:moveTo>
                  <a:lnTo>
                    <a:pt x="559777" y="17449"/>
                  </a:lnTo>
                  <a:lnTo>
                    <a:pt x="559777" y="34937"/>
                  </a:lnTo>
                  <a:lnTo>
                    <a:pt x="542340" y="34937"/>
                  </a:lnTo>
                  <a:lnTo>
                    <a:pt x="542340" y="104800"/>
                  </a:lnTo>
                  <a:lnTo>
                    <a:pt x="559777" y="104800"/>
                  </a:lnTo>
                  <a:lnTo>
                    <a:pt x="559777" y="69875"/>
                  </a:lnTo>
                  <a:lnTo>
                    <a:pt x="577303" y="69875"/>
                  </a:lnTo>
                  <a:lnTo>
                    <a:pt x="577303" y="17449"/>
                  </a:lnTo>
                  <a:close/>
                </a:path>
              </a:pathLst>
            </a:custGeom>
            <a:solidFill>
              <a:srgbClr val="00412C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7642885" y="5223865"/>
              <a:ext cx="577850" cy="245110"/>
            </a:xfrm>
            <a:custGeom>
              <a:avLst/>
              <a:gdLst/>
              <a:ahLst/>
              <a:cxnLst/>
              <a:rect l="l" t="t" r="r" b="b"/>
              <a:pathLst>
                <a:path w="577850" h="245110">
                  <a:moveTo>
                    <a:pt x="34963" y="139750"/>
                  </a:moveTo>
                  <a:lnTo>
                    <a:pt x="17526" y="139750"/>
                  </a:lnTo>
                  <a:lnTo>
                    <a:pt x="17526" y="157200"/>
                  </a:lnTo>
                  <a:lnTo>
                    <a:pt x="0" y="157200"/>
                  </a:lnTo>
                  <a:lnTo>
                    <a:pt x="0" y="192163"/>
                  </a:lnTo>
                  <a:lnTo>
                    <a:pt x="17526" y="192163"/>
                  </a:lnTo>
                  <a:lnTo>
                    <a:pt x="17526" y="209626"/>
                  </a:lnTo>
                  <a:lnTo>
                    <a:pt x="0" y="209626"/>
                  </a:lnTo>
                  <a:lnTo>
                    <a:pt x="0" y="244551"/>
                  </a:lnTo>
                  <a:lnTo>
                    <a:pt x="17526" y="244551"/>
                  </a:lnTo>
                  <a:lnTo>
                    <a:pt x="34963" y="244551"/>
                  </a:lnTo>
                  <a:lnTo>
                    <a:pt x="34963" y="139750"/>
                  </a:lnTo>
                  <a:close/>
                </a:path>
                <a:path w="577850" h="245110">
                  <a:moveTo>
                    <a:pt x="34963" y="104813"/>
                  </a:moveTo>
                  <a:lnTo>
                    <a:pt x="17526" y="104813"/>
                  </a:lnTo>
                  <a:lnTo>
                    <a:pt x="17526" y="69900"/>
                  </a:lnTo>
                  <a:lnTo>
                    <a:pt x="0" y="69900"/>
                  </a:lnTo>
                  <a:lnTo>
                    <a:pt x="0" y="122288"/>
                  </a:lnTo>
                  <a:lnTo>
                    <a:pt x="17526" y="122288"/>
                  </a:lnTo>
                  <a:lnTo>
                    <a:pt x="34963" y="122288"/>
                  </a:lnTo>
                  <a:lnTo>
                    <a:pt x="34963" y="104813"/>
                  </a:lnTo>
                  <a:close/>
                </a:path>
                <a:path w="577850" h="245110">
                  <a:moveTo>
                    <a:pt x="87452" y="209626"/>
                  </a:moveTo>
                  <a:lnTo>
                    <a:pt x="70015" y="209626"/>
                  </a:lnTo>
                  <a:lnTo>
                    <a:pt x="70015" y="192163"/>
                  </a:lnTo>
                  <a:lnTo>
                    <a:pt x="52489" y="192163"/>
                  </a:lnTo>
                  <a:lnTo>
                    <a:pt x="35052" y="192163"/>
                  </a:lnTo>
                  <a:lnTo>
                    <a:pt x="35052" y="227101"/>
                  </a:lnTo>
                  <a:lnTo>
                    <a:pt x="52489" y="227101"/>
                  </a:lnTo>
                  <a:lnTo>
                    <a:pt x="52489" y="244551"/>
                  </a:lnTo>
                  <a:lnTo>
                    <a:pt x="70015" y="244551"/>
                  </a:lnTo>
                  <a:lnTo>
                    <a:pt x="70015" y="227101"/>
                  </a:lnTo>
                  <a:lnTo>
                    <a:pt x="87452" y="227101"/>
                  </a:lnTo>
                  <a:lnTo>
                    <a:pt x="87452" y="209626"/>
                  </a:lnTo>
                  <a:close/>
                </a:path>
                <a:path w="577850" h="245110">
                  <a:moveTo>
                    <a:pt x="87452" y="69900"/>
                  </a:moveTo>
                  <a:lnTo>
                    <a:pt x="70015" y="69900"/>
                  </a:lnTo>
                  <a:lnTo>
                    <a:pt x="52489" y="69900"/>
                  </a:lnTo>
                  <a:lnTo>
                    <a:pt x="35052" y="69900"/>
                  </a:lnTo>
                  <a:lnTo>
                    <a:pt x="35052" y="87350"/>
                  </a:lnTo>
                  <a:lnTo>
                    <a:pt x="52489" y="87350"/>
                  </a:lnTo>
                  <a:lnTo>
                    <a:pt x="70015" y="87350"/>
                  </a:lnTo>
                  <a:lnTo>
                    <a:pt x="87452" y="87350"/>
                  </a:lnTo>
                  <a:lnTo>
                    <a:pt x="87452" y="69900"/>
                  </a:lnTo>
                  <a:close/>
                </a:path>
                <a:path w="577850" h="245110">
                  <a:moveTo>
                    <a:pt x="104978" y="192163"/>
                  </a:moveTo>
                  <a:lnTo>
                    <a:pt x="87452" y="192163"/>
                  </a:lnTo>
                  <a:lnTo>
                    <a:pt x="87452" y="209626"/>
                  </a:lnTo>
                  <a:lnTo>
                    <a:pt x="104978" y="209626"/>
                  </a:lnTo>
                  <a:lnTo>
                    <a:pt x="104978" y="192163"/>
                  </a:lnTo>
                  <a:close/>
                </a:path>
                <a:path w="577850" h="245110">
                  <a:moveTo>
                    <a:pt x="122415" y="209626"/>
                  </a:moveTo>
                  <a:lnTo>
                    <a:pt x="104978" y="209626"/>
                  </a:lnTo>
                  <a:lnTo>
                    <a:pt x="104978" y="227101"/>
                  </a:lnTo>
                  <a:lnTo>
                    <a:pt x="122415" y="227101"/>
                  </a:lnTo>
                  <a:lnTo>
                    <a:pt x="122415" y="209626"/>
                  </a:lnTo>
                  <a:close/>
                </a:path>
                <a:path w="577850" h="245110">
                  <a:moveTo>
                    <a:pt x="122415" y="174688"/>
                  </a:moveTo>
                  <a:lnTo>
                    <a:pt x="104978" y="174688"/>
                  </a:lnTo>
                  <a:lnTo>
                    <a:pt x="104978" y="192163"/>
                  </a:lnTo>
                  <a:lnTo>
                    <a:pt x="122415" y="192163"/>
                  </a:lnTo>
                  <a:lnTo>
                    <a:pt x="122415" y="174688"/>
                  </a:lnTo>
                  <a:close/>
                </a:path>
                <a:path w="577850" h="245110">
                  <a:moveTo>
                    <a:pt x="122415" y="139750"/>
                  </a:moveTo>
                  <a:lnTo>
                    <a:pt x="104978" y="139750"/>
                  </a:lnTo>
                  <a:lnTo>
                    <a:pt x="87452" y="139750"/>
                  </a:lnTo>
                  <a:lnTo>
                    <a:pt x="87452" y="157200"/>
                  </a:lnTo>
                  <a:lnTo>
                    <a:pt x="70015" y="157200"/>
                  </a:lnTo>
                  <a:lnTo>
                    <a:pt x="70015" y="139750"/>
                  </a:lnTo>
                  <a:lnTo>
                    <a:pt x="52489" y="139750"/>
                  </a:lnTo>
                  <a:lnTo>
                    <a:pt x="35052" y="139750"/>
                  </a:lnTo>
                  <a:lnTo>
                    <a:pt x="35052" y="157200"/>
                  </a:lnTo>
                  <a:lnTo>
                    <a:pt x="52489" y="157200"/>
                  </a:lnTo>
                  <a:lnTo>
                    <a:pt x="52489" y="174688"/>
                  </a:lnTo>
                  <a:lnTo>
                    <a:pt x="70015" y="174688"/>
                  </a:lnTo>
                  <a:lnTo>
                    <a:pt x="70015" y="192163"/>
                  </a:lnTo>
                  <a:lnTo>
                    <a:pt x="87452" y="192163"/>
                  </a:lnTo>
                  <a:lnTo>
                    <a:pt x="87452" y="174688"/>
                  </a:lnTo>
                  <a:lnTo>
                    <a:pt x="104978" y="174688"/>
                  </a:lnTo>
                  <a:lnTo>
                    <a:pt x="104978" y="157200"/>
                  </a:lnTo>
                  <a:lnTo>
                    <a:pt x="122415" y="157200"/>
                  </a:lnTo>
                  <a:lnTo>
                    <a:pt x="122415" y="139750"/>
                  </a:lnTo>
                  <a:close/>
                </a:path>
                <a:path w="577850" h="245110">
                  <a:moveTo>
                    <a:pt x="122415" y="69900"/>
                  </a:moveTo>
                  <a:lnTo>
                    <a:pt x="104978" y="69900"/>
                  </a:lnTo>
                  <a:lnTo>
                    <a:pt x="104978" y="104813"/>
                  </a:lnTo>
                  <a:lnTo>
                    <a:pt x="87452" y="104813"/>
                  </a:lnTo>
                  <a:lnTo>
                    <a:pt x="70015" y="104813"/>
                  </a:lnTo>
                  <a:lnTo>
                    <a:pt x="52489" y="104813"/>
                  </a:lnTo>
                  <a:lnTo>
                    <a:pt x="35052" y="104813"/>
                  </a:lnTo>
                  <a:lnTo>
                    <a:pt x="35052" y="122288"/>
                  </a:lnTo>
                  <a:lnTo>
                    <a:pt x="122415" y="122288"/>
                  </a:lnTo>
                  <a:lnTo>
                    <a:pt x="122415" y="69900"/>
                  </a:lnTo>
                  <a:close/>
                </a:path>
                <a:path w="577850" h="245110">
                  <a:moveTo>
                    <a:pt x="157467" y="104813"/>
                  </a:moveTo>
                  <a:lnTo>
                    <a:pt x="139941" y="104813"/>
                  </a:lnTo>
                  <a:lnTo>
                    <a:pt x="139941" y="122288"/>
                  </a:lnTo>
                  <a:lnTo>
                    <a:pt x="157467" y="122288"/>
                  </a:lnTo>
                  <a:lnTo>
                    <a:pt x="157467" y="104813"/>
                  </a:lnTo>
                  <a:close/>
                </a:path>
                <a:path w="577850" h="245110">
                  <a:moveTo>
                    <a:pt x="192430" y="104813"/>
                  </a:moveTo>
                  <a:lnTo>
                    <a:pt x="174904" y="104813"/>
                  </a:lnTo>
                  <a:lnTo>
                    <a:pt x="174904" y="122288"/>
                  </a:lnTo>
                  <a:lnTo>
                    <a:pt x="157467" y="122288"/>
                  </a:lnTo>
                  <a:lnTo>
                    <a:pt x="157467" y="139738"/>
                  </a:lnTo>
                  <a:lnTo>
                    <a:pt x="174904" y="139738"/>
                  </a:lnTo>
                  <a:lnTo>
                    <a:pt x="192430" y="139738"/>
                  </a:lnTo>
                  <a:lnTo>
                    <a:pt x="192430" y="104813"/>
                  </a:lnTo>
                  <a:close/>
                </a:path>
                <a:path w="577850" h="245110">
                  <a:moveTo>
                    <a:pt x="192430" y="69900"/>
                  </a:moveTo>
                  <a:lnTo>
                    <a:pt x="174904" y="69900"/>
                  </a:lnTo>
                  <a:lnTo>
                    <a:pt x="157467" y="69900"/>
                  </a:lnTo>
                  <a:lnTo>
                    <a:pt x="157467" y="87350"/>
                  </a:lnTo>
                  <a:lnTo>
                    <a:pt x="174904" y="87350"/>
                  </a:lnTo>
                  <a:lnTo>
                    <a:pt x="192430" y="87350"/>
                  </a:lnTo>
                  <a:lnTo>
                    <a:pt x="192430" y="69900"/>
                  </a:lnTo>
                  <a:close/>
                </a:path>
                <a:path w="577850" h="245110">
                  <a:moveTo>
                    <a:pt x="192430" y="34937"/>
                  </a:moveTo>
                  <a:lnTo>
                    <a:pt x="174904" y="34937"/>
                  </a:lnTo>
                  <a:lnTo>
                    <a:pt x="174904" y="52425"/>
                  </a:lnTo>
                  <a:lnTo>
                    <a:pt x="157467" y="52425"/>
                  </a:lnTo>
                  <a:lnTo>
                    <a:pt x="157467" y="69862"/>
                  </a:lnTo>
                  <a:lnTo>
                    <a:pt x="174904" y="69862"/>
                  </a:lnTo>
                  <a:lnTo>
                    <a:pt x="192430" y="69862"/>
                  </a:lnTo>
                  <a:lnTo>
                    <a:pt x="192430" y="34937"/>
                  </a:lnTo>
                  <a:close/>
                </a:path>
                <a:path w="577850" h="245110">
                  <a:moveTo>
                    <a:pt x="209867" y="87350"/>
                  </a:moveTo>
                  <a:lnTo>
                    <a:pt x="192430" y="87350"/>
                  </a:lnTo>
                  <a:lnTo>
                    <a:pt x="192430" y="104813"/>
                  </a:lnTo>
                  <a:lnTo>
                    <a:pt x="209867" y="104813"/>
                  </a:lnTo>
                  <a:lnTo>
                    <a:pt x="209867" y="87350"/>
                  </a:lnTo>
                  <a:close/>
                </a:path>
                <a:path w="577850" h="245110">
                  <a:moveTo>
                    <a:pt x="227393" y="104813"/>
                  </a:moveTo>
                  <a:lnTo>
                    <a:pt x="209867" y="104813"/>
                  </a:lnTo>
                  <a:lnTo>
                    <a:pt x="209867" y="122288"/>
                  </a:lnTo>
                  <a:lnTo>
                    <a:pt x="227393" y="122288"/>
                  </a:lnTo>
                  <a:lnTo>
                    <a:pt x="227393" y="104813"/>
                  </a:lnTo>
                  <a:close/>
                </a:path>
                <a:path w="577850" h="245110">
                  <a:moveTo>
                    <a:pt x="244919" y="122288"/>
                  </a:moveTo>
                  <a:lnTo>
                    <a:pt x="227393" y="122288"/>
                  </a:lnTo>
                  <a:lnTo>
                    <a:pt x="227393" y="139738"/>
                  </a:lnTo>
                  <a:lnTo>
                    <a:pt x="244919" y="139738"/>
                  </a:lnTo>
                  <a:lnTo>
                    <a:pt x="244919" y="122288"/>
                  </a:lnTo>
                  <a:close/>
                </a:path>
                <a:path w="577850" h="245110">
                  <a:moveTo>
                    <a:pt x="244919" y="87350"/>
                  </a:moveTo>
                  <a:lnTo>
                    <a:pt x="227393" y="87350"/>
                  </a:lnTo>
                  <a:lnTo>
                    <a:pt x="227393" y="104813"/>
                  </a:lnTo>
                  <a:lnTo>
                    <a:pt x="244919" y="104813"/>
                  </a:lnTo>
                  <a:lnTo>
                    <a:pt x="244919" y="87350"/>
                  </a:lnTo>
                  <a:close/>
                </a:path>
                <a:path w="577850" h="245110">
                  <a:moveTo>
                    <a:pt x="262445" y="104813"/>
                  </a:moveTo>
                  <a:lnTo>
                    <a:pt x="244919" y="104813"/>
                  </a:lnTo>
                  <a:lnTo>
                    <a:pt x="244919" y="122288"/>
                  </a:lnTo>
                  <a:lnTo>
                    <a:pt x="262445" y="122288"/>
                  </a:lnTo>
                  <a:lnTo>
                    <a:pt x="262445" y="104813"/>
                  </a:lnTo>
                  <a:close/>
                </a:path>
                <a:path w="577850" h="245110">
                  <a:moveTo>
                    <a:pt x="297408" y="52425"/>
                  </a:moveTo>
                  <a:lnTo>
                    <a:pt x="279882" y="52425"/>
                  </a:lnTo>
                  <a:lnTo>
                    <a:pt x="279882" y="69862"/>
                  </a:lnTo>
                  <a:lnTo>
                    <a:pt x="297408" y="69862"/>
                  </a:lnTo>
                  <a:lnTo>
                    <a:pt x="297408" y="52425"/>
                  </a:lnTo>
                  <a:close/>
                </a:path>
                <a:path w="577850" h="245110">
                  <a:moveTo>
                    <a:pt x="314845" y="69900"/>
                  </a:moveTo>
                  <a:lnTo>
                    <a:pt x="297408" y="69900"/>
                  </a:lnTo>
                  <a:lnTo>
                    <a:pt x="279882" y="69900"/>
                  </a:lnTo>
                  <a:lnTo>
                    <a:pt x="262445" y="69900"/>
                  </a:lnTo>
                  <a:lnTo>
                    <a:pt x="244919" y="69900"/>
                  </a:lnTo>
                  <a:lnTo>
                    <a:pt x="244919" y="87350"/>
                  </a:lnTo>
                  <a:lnTo>
                    <a:pt x="262445" y="87350"/>
                  </a:lnTo>
                  <a:lnTo>
                    <a:pt x="262445" y="104813"/>
                  </a:lnTo>
                  <a:lnTo>
                    <a:pt x="279882" y="104813"/>
                  </a:lnTo>
                  <a:lnTo>
                    <a:pt x="279882" y="122288"/>
                  </a:lnTo>
                  <a:lnTo>
                    <a:pt x="262445" y="122288"/>
                  </a:lnTo>
                  <a:lnTo>
                    <a:pt x="262445" y="139738"/>
                  </a:lnTo>
                  <a:lnTo>
                    <a:pt x="279882" y="139738"/>
                  </a:lnTo>
                  <a:lnTo>
                    <a:pt x="297408" y="139738"/>
                  </a:lnTo>
                  <a:lnTo>
                    <a:pt x="314845" y="139738"/>
                  </a:lnTo>
                  <a:lnTo>
                    <a:pt x="314845" y="122288"/>
                  </a:lnTo>
                  <a:lnTo>
                    <a:pt x="297408" y="122288"/>
                  </a:lnTo>
                  <a:lnTo>
                    <a:pt x="297408" y="104813"/>
                  </a:lnTo>
                  <a:lnTo>
                    <a:pt x="314845" y="104813"/>
                  </a:lnTo>
                  <a:lnTo>
                    <a:pt x="314845" y="69900"/>
                  </a:lnTo>
                  <a:close/>
                </a:path>
                <a:path w="577850" h="245110">
                  <a:moveTo>
                    <a:pt x="332371" y="139750"/>
                  </a:moveTo>
                  <a:lnTo>
                    <a:pt x="314845" y="139750"/>
                  </a:lnTo>
                  <a:lnTo>
                    <a:pt x="314845" y="157200"/>
                  </a:lnTo>
                  <a:lnTo>
                    <a:pt x="332371" y="157200"/>
                  </a:lnTo>
                  <a:lnTo>
                    <a:pt x="332371" y="139750"/>
                  </a:lnTo>
                  <a:close/>
                </a:path>
                <a:path w="577850" h="245110">
                  <a:moveTo>
                    <a:pt x="332371" y="104813"/>
                  </a:moveTo>
                  <a:lnTo>
                    <a:pt x="314845" y="104813"/>
                  </a:lnTo>
                  <a:lnTo>
                    <a:pt x="314845" y="122288"/>
                  </a:lnTo>
                  <a:lnTo>
                    <a:pt x="332371" y="122288"/>
                  </a:lnTo>
                  <a:lnTo>
                    <a:pt x="332371" y="104813"/>
                  </a:lnTo>
                  <a:close/>
                </a:path>
                <a:path w="577850" h="245110">
                  <a:moveTo>
                    <a:pt x="384860" y="69900"/>
                  </a:moveTo>
                  <a:lnTo>
                    <a:pt x="367334" y="69900"/>
                  </a:lnTo>
                  <a:lnTo>
                    <a:pt x="349910" y="69900"/>
                  </a:lnTo>
                  <a:lnTo>
                    <a:pt x="349910" y="87350"/>
                  </a:lnTo>
                  <a:lnTo>
                    <a:pt x="332371" y="87350"/>
                  </a:lnTo>
                  <a:lnTo>
                    <a:pt x="332371" y="104813"/>
                  </a:lnTo>
                  <a:lnTo>
                    <a:pt x="349910" y="104813"/>
                  </a:lnTo>
                  <a:lnTo>
                    <a:pt x="349910" y="139738"/>
                  </a:lnTo>
                  <a:lnTo>
                    <a:pt x="367334" y="139738"/>
                  </a:lnTo>
                  <a:lnTo>
                    <a:pt x="367334" y="87350"/>
                  </a:lnTo>
                  <a:lnTo>
                    <a:pt x="384860" y="87350"/>
                  </a:lnTo>
                  <a:lnTo>
                    <a:pt x="384860" y="69900"/>
                  </a:lnTo>
                  <a:close/>
                </a:path>
                <a:path w="577850" h="245110">
                  <a:moveTo>
                    <a:pt x="437362" y="69900"/>
                  </a:moveTo>
                  <a:lnTo>
                    <a:pt x="419823" y="69900"/>
                  </a:lnTo>
                  <a:lnTo>
                    <a:pt x="419823" y="122288"/>
                  </a:lnTo>
                  <a:lnTo>
                    <a:pt x="402297" y="122288"/>
                  </a:lnTo>
                  <a:lnTo>
                    <a:pt x="402297" y="87350"/>
                  </a:lnTo>
                  <a:lnTo>
                    <a:pt x="384860" y="87350"/>
                  </a:lnTo>
                  <a:lnTo>
                    <a:pt x="384860" y="139738"/>
                  </a:lnTo>
                  <a:lnTo>
                    <a:pt x="402297" y="139738"/>
                  </a:lnTo>
                  <a:lnTo>
                    <a:pt x="419823" y="139738"/>
                  </a:lnTo>
                  <a:lnTo>
                    <a:pt x="437362" y="139738"/>
                  </a:lnTo>
                  <a:lnTo>
                    <a:pt x="437362" y="69900"/>
                  </a:lnTo>
                  <a:close/>
                </a:path>
                <a:path w="577850" h="245110">
                  <a:moveTo>
                    <a:pt x="542251" y="104813"/>
                  </a:moveTo>
                  <a:lnTo>
                    <a:pt x="524814" y="104813"/>
                  </a:lnTo>
                  <a:lnTo>
                    <a:pt x="507288" y="104813"/>
                  </a:lnTo>
                  <a:lnTo>
                    <a:pt x="489851" y="104813"/>
                  </a:lnTo>
                  <a:lnTo>
                    <a:pt x="472325" y="104813"/>
                  </a:lnTo>
                  <a:lnTo>
                    <a:pt x="472325" y="69900"/>
                  </a:lnTo>
                  <a:lnTo>
                    <a:pt x="454888" y="69900"/>
                  </a:lnTo>
                  <a:lnTo>
                    <a:pt x="454888" y="122288"/>
                  </a:lnTo>
                  <a:lnTo>
                    <a:pt x="472325" y="122288"/>
                  </a:lnTo>
                  <a:lnTo>
                    <a:pt x="489851" y="122288"/>
                  </a:lnTo>
                  <a:lnTo>
                    <a:pt x="507288" y="122288"/>
                  </a:lnTo>
                  <a:lnTo>
                    <a:pt x="524814" y="122288"/>
                  </a:lnTo>
                  <a:lnTo>
                    <a:pt x="542251" y="122288"/>
                  </a:lnTo>
                  <a:lnTo>
                    <a:pt x="542251" y="104813"/>
                  </a:lnTo>
                  <a:close/>
                </a:path>
                <a:path w="577850" h="245110">
                  <a:moveTo>
                    <a:pt x="542251" y="69900"/>
                  </a:moveTo>
                  <a:lnTo>
                    <a:pt x="524814" y="69900"/>
                  </a:lnTo>
                  <a:lnTo>
                    <a:pt x="507288" y="69900"/>
                  </a:lnTo>
                  <a:lnTo>
                    <a:pt x="489851" y="69900"/>
                  </a:lnTo>
                  <a:lnTo>
                    <a:pt x="489851" y="87350"/>
                  </a:lnTo>
                  <a:lnTo>
                    <a:pt x="507288" y="87350"/>
                  </a:lnTo>
                  <a:lnTo>
                    <a:pt x="524814" y="87350"/>
                  </a:lnTo>
                  <a:lnTo>
                    <a:pt x="542251" y="87350"/>
                  </a:lnTo>
                  <a:lnTo>
                    <a:pt x="542251" y="69900"/>
                  </a:lnTo>
                  <a:close/>
                </a:path>
                <a:path w="577850" h="245110">
                  <a:moveTo>
                    <a:pt x="542251" y="34937"/>
                  </a:moveTo>
                  <a:lnTo>
                    <a:pt x="524814" y="34937"/>
                  </a:lnTo>
                  <a:lnTo>
                    <a:pt x="507288" y="34937"/>
                  </a:lnTo>
                  <a:lnTo>
                    <a:pt x="489851" y="34937"/>
                  </a:lnTo>
                  <a:lnTo>
                    <a:pt x="489851" y="69862"/>
                  </a:lnTo>
                  <a:lnTo>
                    <a:pt x="507288" y="69862"/>
                  </a:lnTo>
                  <a:lnTo>
                    <a:pt x="524814" y="69862"/>
                  </a:lnTo>
                  <a:lnTo>
                    <a:pt x="542251" y="69862"/>
                  </a:lnTo>
                  <a:lnTo>
                    <a:pt x="542251" y="34937"/>
                  </a:lnTo>
                  <a:close/>
                </a:path>
                <a:path w="577850" h="245110">
                  <a:moveTo>
                    <a:pt x="542251" y="0"/>
                  </a:moveTo>
                  <a:lnTo>
                    <a:pt x="542251" y="0"/>
                  </a:lnTo>
                  <a:lnTo>
                    <a:pt x="454888" y="0"/>
                  </a:lnTo>
                  <a:lnTo>
                    <a:pt x="454888" y="69862"/>
                  </a:lnTo>
                  <a:lnTo>
                    <a:pt x="472325" y="69862"/>
                  </a:lnTo>
                  <a:lnTo>
                    <a:pt x="472325" y="17475"/>
                  </a:lnTo>
                  <a:lnTo>
                    <a:pt x="489851" y="17475"/>
                  </a:lnTo>
                  <a:lnTo>
                    <a:pt x="507288" y="17475"/>
                  </a:lnTo>
                  <a:lnTo>
                    <a:pt x="524814" y="17475"/>
                  </a:lnTo>
                  <a:lnTo>
                    <a:pt x="542251" y="17475"/>
                  </a:lnTo>
                  <a:lnTo>
                    <a:pt x="542251" y="0"/>
                  </a:lnTo>
                  <a:close/>
                </a:path>
                <a:path w="577850" h="245110">
                  <a:moveTo>
                    <a:pt x="577303" y="69900"/>
                  </a:moveTo>
                  <a:lnTo>
                    <a:pt x="559777" y="69900"/>
                  </a:lnTo>
                  <a:lnTo>
                    <a:pt x="559777" y="104813"/>
                  </a:lnTo>
                  <a:lnTo>
                    <a:pt x="542340" y="104813"/>
                  </a:lnTo>
                  <a:lnTo>
                    <a:pt x="542340" y="122288"/>
                  </a:lnTo>
                  <a:lnTo>
                    <a:pt x="559777" y="122288"/>
                  </a:lnTo>
                  <a:lnTo>
                    <a:pt x="577303" y="122288"/>
                  </a:lnTo>
                  <a:lnTo>
                    <a:pt x="577303" y="69900"/>
                  </a:lnTo>
                  <a:close/>
                </a:path>
                <a:path w="577850" h="245110">
                  <a:moveTo>
                    <a:pt x="577303" y="0"/>
                  </a:moveTo>
                  <a:lnTo>
                    <a:pt x="559777" y="0"/>
                  </a:lnTo>
                  <a:lnTo>
                    <a:pt x="542340" y="0"/>
                  </a:lnTo>
                  <a:lnTo>
                    <a:pt x="542340" y="17475"/>
                  </a:lnTo>
                  <a:lnTo>
                    <a:pt x="559777" y="17475"/>
                  </a:lnTo>
                  <a:lnTo>
                    <a:pt x="559777" y="69862"/>
                  </a:lnTo>
                  <a:lnTo>
                    <a:pt x="577303" y="69862"/>
                  </a:lnTo>
                  <a:lnTo>
                    <a:pt x="577303" y="0"/>
                  </a:lnTo>
                  <a:close/>
                </a:path>
              </a:pathLst>
            </a:custGeom>
            <a:solidFill>
              <a:srgbClr val="00412C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7642885" y="5223865"/>
              <a:ext cx="437515" cy="70485"/>
            </a:xfrm>
            <a:custGeom>
              <a:avLst/>
              <a:gdLst/>
              <a:ahLst/>
              <a:cxnLst/>
              <a:rect l="l" t="t" r="r" b="b"/>
              <a:pathLst>
                <a:path w="437515" h="70485">
                  <a:moveTo>
                    <a:pt x="34963" y="0"/>
                  </a:moveTo>
                  <a:lnTo>
                    <a:pt x="17526" y="0"/>
                  </a:lnTo>
                  <a:lnTo>
                    <a:pt x="0" y="0"/>
                  </a:lnTo>
                  <a:lnTo>
                    <a:pt x="0" y="69862"/>
                  </a:lnTo>
                  <a:lnTo>
                    <a:pt x="17526" y="69862"/>
                  </a:lnTo>
                  <a:lnTo>
                    <a:pt x="17526" y="17475"/>
                  </a:lnTo>
                  <a:lnTo>
                    <a:pt x="34963" y="17475"/>
                  </a:lnTo>
                  <a:lnTo>
                    <a:pt x="34963" y="0"/>
                  </a:lnTo>
                  <a:close/>
                </a:path>
                <a:path w="437515" h="70485">
                  <a:moveTo>
                    <a:pt x="87452" y="34937"/>
                  </a:moveTo>
                  <a:lnTo>
                    <a:pt x="70015" y="34937"/>
                  </a:lnTo>
                  <a:lnTo>
                    <a:pt x="52489" y="34937"/>
                  </a:lnTo>
                  <a:lnTo>
                    <a:pt x="35052" y="34937"/>
                  </a:lnTo>
                  <a:lnTo>
                    <a:pt x="35052" y="69862"/>
                  </a:lnTo>
                  <a:lnTo>
                    <a:pt x="52489" y="69862"/>
                  </a:lnTo>
                  <a:lnTo>
                    <a:pt x="70015" y="69862"/>
                  </a:lnTo>
                  <a:lnTo>
                    <a:pt x="87452" y="69862"/>
                  </a:lnTo>
                  <a:lnTo>
                    <a:pt x="87452" y="34937"/>
                  </a:lnTo>
                  <a:close/>
                </a:path>
                <a:path w="437515" h="70485">
                  <a:moveTo>
                    <a:pt x="122415" y="0"/>
                  </a:moveTo>
                  <a:lnTo>
                    <a:pt x="122415" y="0"/>
                  </a:lnTo>
                  <a:lnTo>
                    <a:pt x="35052" y="0"/>
                  </a:lnTo>
                  <a:lnTo>
                    <a:pt x="35052" y="17475"/>
                  </a:lnTo>
                  <a:lnTo>
                    <a:pt x="52489" y="17475"/>
                  </a:lnTo>
                  <a:lnTo>
                    <a:pt x="70015" y="17475"/>
                  </a:lnTo>
                  <a:lnTo>
                    <a:pt x="87452" y="17475"/>
                  </a:lnTo>
                  <a:lnTo>
                    <a:pt x="104978" y="17475"/>
                  </a:lnTo>
                  <a:lnTo>
                    <a:pt x="104978" y="69862"/>
                  </a:lnTo>
                  <a:lnTo>
                    <a:pt x="122415" y="69862"/>
                  </a:lnTo>
                  <a:lnTo>
                    <a:pt x="122415" y="0"/>
                  </a:lnTo>
                  <a:close/>
                </a:path>
                <a:path w="437515" h="70485">
                  <a:moveTo>
                    <a:pt x="174904" y="17475"/>
                  </a:moveTo>
                  <a:lnTo>
                    <a:pt x="157467" y="17475"/>
                  </a:lnTo>
                  <a:lnTo>
                    <a:pt x="139941" y="17475"/>
                  </a:lnTo>
                  <a:lnTo>
                    <a:pt x="139941" y="52425"/>
                  </a:lnTo>
                  <a:lnTo>
                    <a:pt x="157467" y="52425"/>
                  </a:lnTo>
                  <a:lnTo>
                    <a:pt x="157467" y="34937"/>
                  </a:lnTo>
                  <a:lnTo>
                    <a:pt x="174904" y="34937"/>
                  </a:lnTo>
                  <a:lnTo>
                    <a:pt x="174904" y="17475"/>
                  </a:lnTo>
                  <a:close/>
                </a:path>
                <a:path w="437515" h="70485">
                  <a:moveTo>
                    <a:pt x="279882" y="0"/>
                  </a:moveTo>
                  <a:lnTo>
                    <a:pt x="262445" y="0"/>
                  </a:lnTo>
                  <a:lnTo>
                    <a:pt x="262445" y="17475"/>
                  </a:lnTo>
                  <a:lnTo>
                    <a:pt x="244919" y="17475"/>
                  </a:lnTo>
                  <a:lnTo>
                    <a:pt x="227393" y="17475"/>
                  </a:lnTo>
                  <a:lnTo>
                    <a:pt x="227393" y="0"/>
                  </a:lnTo>
                  <a:lnTo>
                    <a:pt x="209867" y="0"/>
                  </a:lnTo>
                  <a:lnTo>
                    <a:pt x="209867" y="17475"/>
                  </a:lnTo>
                  <a:lnTo>
                    <a:pt x="192430" y="17475"/>
                  </a:lnTo>
                  <a:lnTo>
                    <a:pt x="192430" y="52425"/>
                  </a:lnTo>
                  <a:lnTo>
                    <a:pt x="209867" y="52425"/>
                  </a:lnTo>
                  <a:lnTo>
                    <a:pt x="209867" y="34937"/>
                  </a:lnTo>
                  <a:lnTo>
                    <a:pt x="227393" y="34937"/>
                  </a:lnTo>
                  <a:lnTo>
                    <a:pt x="244919" y="34937"/>
                  </a:lnTo>
                  <a:lnTo>
                    <a:pt x="244919" y="52425"/>
                  </a:lnTo>
                  <a:lnTo>
                    <a:pt x="262445" y="52425"/>
                  </a:lnTo>
                  <a:lnTo>
                    <a:pt x="262445" y="34937"/>
                  </a:lnTo>
                  <a:lnTo>
                    <a:pt x="279882" y="34937"/>
                  </a:lnTo>
                  <a:lnTo>
                    <a:pt x="279882" y="0"/>
                  </a:lnTo>
                  <a:close/>
                </a:path>
                <a:path w="437515" h="70485">
                  <a:moveTo>
                    <a:pt x="297408" y="52425"/>
                  </a:moveTo>
                  <a:lnTo>
                    <a:pt x="279882" y="52425"/>
                  </a:lnTo>
                  <a:lnTo>
                    <a:pt x="279882" y="69862"/>
                  </a:lnTo>
                  <a:lnTo>
                    <a:pt x="297408" y="69862"/>
                  </a:lnTo>
                  <a:lnTo>
                    <a:pt x="297408" y="52425"/>
                  </a:lnTo>
                  <a:close/>
                </a:path>
                <a:path w="437515" h="70485">
                  <a:moveTo>
                    <a:pt x="314845" y="34937"/>
                  </a:moveTo>
                  <a:lnTo>
                    <a:pt x="297408" y="34937"/>
                  </a:lnTo>
                  <a:lnTo>
                    <a:pt x="297408" y="52425"/>
                  </a:lnTo>
                  <a:lnTo>
                    <a:pt x="314845" y="52425"/>
                  </a:lnTo>
                  <a:lnTo>
                    <a:pt x="314845" y="34937"/>
                  </a:lnTo>
                  <a:close/>
                </a:path>
                <a:path w="437515" h="70485">
                  <a:moveTo>
                    <a:pt x="314845" y="0"/>
                  </a:moveTo>
                  <a:lnTo>
                    <a:pt x="297408" y="0"/>
                  </a:lnTo>
                  <a:lnTo>
                    <a:pt x="297408" y="17475"/>
                  </a:lnTo>
                  <a:lnTo>
                    <a:pt x="314845" y="17475"/>
                  </a:lnTo>
                  <a:lnTo>
                    <a:pt x="314845" y="0"/>
                  </a:lnTo>
                  <a:close/>
                </a:path>
                <a:path w="437515" h="70485">
                  <a:moveTo>
                    <a:pt x="332371" y="17475"/>
                  </a:moveTo>
                  <a:lnTo>
                    <a:pt x="314845" y="17475"/>
                  </a:lnTo>
                  <a:lnTo>
                    <a:pt x="314845" y="34937"/>
                  </a:lnTo>
                  <a:lnTo>
                    <a:pt x="332371" y="34937"/>
                  </a:lnTo>
                  <a:lnTo>
                    <a:pt x="332371" y="17475"/>
                  </a:lnTo>
                  <a:close/>
                </a:path>
                <a:path w="437515" h="70485">
                  <a:moveTo>
                    <a:pt x="437362" y="17475"/>
                  </a:moveTo>
                  <a:lnTo>
                    <a:pt x="419823" y="17475"/>
                  </a:lnTo>
                  <a:lnTo>
                    <a:pt x="419823" y="0"/>
                  </a:lnTo>
                  <a:lnTo>
                    <a:pt x="402297" y="0"/>
                  </a:lnTo>
                  <a:lnTo>
                    <a:pt x="384860" y="0"/>
                  </a:lnTo>
                  <a:lnTo>
                    <a:pt x="367334" y="0"/>
                  </a:lnTo>
                  <a:lnTo>
                    <a:pt x="349910" y="0"/>
                  </a:lnTo>
                  <a:lnTo>
                    <a:pt x="332371" y="0"/>
                  </a:lnTo>
                  <a:lnTo>
                    <a:pt x="332371" y="17475"/>
                  </a:lnTo>
                  <a:lnTo>
                    <a:pt x="349910" y="17475"/>
                  </a:lnTo>
                  <a:lnTo>
                    <a:pt x="349910" y="52425"/>
                  </a:lnTo>
                  <a:lnTo>
                    <a:pt x="332371" y="52425"/>
                  </a:lnTo>
                  <a:lnTo>
                    <a:pt x="332371" y="69862"/>
                  </a:lnTo>
                  <a:lnTo>
                    <a:pt x="349910" y="69862"/>
                  </a:lnTo>
                  <a:lnTo>
                    <a:pt x="367334" y="69862"/>
                  </a:lnTo>
                  <a:lnTo>
                    <a:pt x="367334" y="34937"/>
                  </a:lnTo>
                  <a:lnTo>
                    <a:pt x="384860" y="34937"/>
                  </a:lnTo>
                  <a:lnTo>
                    <a:pt x="384860" y="17475"/>
                  </a:lnTo>
                  <a:lnTo>
                    <a:pt x="402297" y="17475"/>
                  </a:lnTo>
                  <a:lnTo>
                    <a:pt x="402297" y="34937"/>
                  </a:lnTo>
                  <a:lnTo>
                    <a:pt x="384860" y="34937"/>
                  </a:lnTo>
                  <a:lnTo>
                    <a:pt x="384860" y="69862"/>
                  </a:lnTo>
                  <a:lnTo>
                    <a:pt x="402297" y="69862"/>
                  </a:lnTo>
                  <a:lnTo>
                    <a:pt x="402297" y="52425"/>
                  </a:lnTo>
                  <a:lnTo>
                    <a:pt x="419823" y="52425"/>
                  </a:lnTo>
                  <a:lnTo>
                    <a:pt x="419823" y="34937"/>
                  </a:lnTo>
                  <a:lnTo>
                    <a:pt x="437362" y="34937"/>
                  </a:lnTo>
                  <a:lnTo>
                    <a:pt x="437362" y="17475"/>
                  </a:lnTo>
                  <a:close/>
                </a:path>
              </a:pathLst>
            </a:custGeom>
            <a:solidFill>
              <a:srgbClr val="00412C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1" name="object 11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323911" y="5288204"/>
              <a:ext cx="161042" cy="149273"/>
            </a:xfrm>
            <a:prstGeom prst="rect">
              <a:avLst/>
            </a:prstGeom>
          </p:spPr>
        </p:pic>
        <p:sp>
          <p:nvSpPr>
            <p:cNvPr id="12" name="object 12"/>
            <p:cNvSpPr/>
            <p:nvPr/>
          </p:nvSpPr>
          <p:spPr>
            <a:xfrm>
              <a:off x="5953883" y="5226959"/>
              <a:ext cx="273685" cy="273050"/>
            </a:xfrm>
            <a:custGeom>
              <a:avLst/>
              <a:gdLst/>
              <a:ahLst/>
              <a:cxnLst/>
              <a:rect l="l" t="t" r="r" b="b"/>
              <a:pathLst>
                <a:path w="273685" h="273050">
                  <a:moveTo>
                    <a:pt x="196131" y="0"/>
                  </a:moveTo>
                  <a:lnTo>
                    <a:pt x="77126" y="0"/>
                  </a:lnTo>
                  <a:lnTo>
                    <a:pt x="47127" y="6055"/>
                  </a:lnTo>
                  <a:lnTo>
                    <a:pt x="22609" y="22562"/>
                  </a:lnTo>
                  <a:lnTo>
                    <a:pt x="6068" y="47033"/>
                  </a:lnTo>
                  <a:lnTo>
                    <a:pt x="0" y="76980"/>
                  </a:lnTo>
                  <a:lnTo>
                    <a:pt x="0" y="195847"/>
                  </a:lnTo>
                  <a:lnTo>
                    <a:pt x="6068" y="225813"/>
                  </a:lnTo>
                  <a:lnTo>
                    <a:pt x="22609" y="250299"/>
                  </a:lnTo>
                  <a:lnTo>
                    <a:pt x="47127" y="266816"/>
                  </a:lnTo>
                  <a:lnTo>
                    <a:pt x="77126" y="272875"/>
                  </a:lnTo>
                  <a:lnTo>
                    <a:pt x="196131" y="272875"/>
                  </a:lnTo>
                  <a:lnTo>
                    <a:pt x="226129" y="266816"/>
                  </a:lnTo>
                  <a:lnTo>
                    <a:pt x="235057" y="260802"/>
                  </a:lnTo>
                  <a:lnTo>
                    <a:pt x="77126" y="260802"/>
                  </a:lnTo>
                  <a:lnTo>
                    <a:pt x="51860" y="255689"/>
                  </a:lnTo>
                  <a:lnTo>
                    <a:pt x="31196" y="241754"/>
                  </a:lnTo>
                  <a:lnTo>
                    <a:pt x="17247" y="221105"/>
                  </a:lnTo>
                  <a:lnTo>
                    <a:pt x="12127" y="195847"/>
                  </a:lnTo>
                  <a:lnTo>
                    <a:pt x="12127" y="76980"/>
                  </a:lnTo>
                  <a:lnTo>
                    <a:pt x="17247" y="51731"/>
                  </a:lnTo>
                  <a:lnTo>
                    <a:pt x="31196" y="31091"/>
                  </a:lnTo>
                  <a:lnTo>
                    <a:pt x="51860" y="17164"/>
                  </a:lnTo>
                  <a:lnTo>
                    <a:pt x="77126" y="12054"/>
                  </a:lnTo>
                  <a:lnTo>
                    <a:pt x="235039" y="12054"/>
                  </a:lnTo>
                  <a:lnTo>
                    <a:pt x="226129" y="6055"/>
                  </a:lnTo>
                  <a:lnTo>
                    <a:pt x="196131" y="0"/>
                  </a:lnTo>
                  <a:close/>
                </a:path>
                <a:path w="273685" h="273050">
                  <a:moveTo>
                    <a:pt x="235039" y="12054"/>
                  </a:moveTo>
                  <a:lnTo>
                    <a:pt x="196131" y="12054"/>
                  </a:lnTo>
                  <a:lnTo>
                    <a:pt x="221451" y="17164"/>
                  </a:lnTo>
                  <a:lnTo>
                    <a:pt x="242144" y="31091"/>
                  </a:lnTo>
                  <a:lnTo>
                    <a:pt x="256103" y="51731"/>
                  </a:lnTo>
                  <a:lnTo>
                    <a:pt x="261224" y="76980"/>
                  </a:lnTo>
                  <a:lnTo>
                    <a:pt x="261224" y="195847"/>
                  </a:lnTo>
                  <a:lnTo>
                    <a:pt x="256103" y="221105"/>
                  </a:lnTo>
                  <a:lnTo>
                    <a:pt x="242144" y="241754"/>
                  </a:lnTo>
                  <a:lnTo>
                    <a:pt x="221451" y="255689"/>
                  </a:lnTo>
                  <a:lnTo>
                    <a:pt x="196131" y="260802"/>
                  </a:lnTo>
                  <a:lnTo>
                    <a:pt x="235057" y="260802"/>
                  </a:lnTo>
                  <a:lnTo>
                    <a:pt x="250647" y="250299"/>
                  </a:lnTo>
                  <a:lnTo>
                    <a:pt x="267188" y="225813"/>
                  </a:lnTo>
                  <a:lnTo>
                    <a:pt x="273257" y="195847"/>
                  </a:lnTo>
                  <a:lnTo>
                    <a:pt x="273257" y="76980"/>
                  </a:lnTo>
                  <a:lnTo>
                    <a:pt x="267188" y="47033"/>
                  </a:lnTo>
                  <a:lnTo>
                    <a:pt x="250647" y="22562"/>
                  </a:lnTo>
                  <a:lnTo>
                    <a:pt x="235039" y="12054"/>
                  </a:lnTo>
                  <a:close/>
                </a:path>
              </a:pathLst>
            </a:custGeom>
            <a:solidFill>
              <a:srgbClr val="FDFDFD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3" name="object 13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6010638" y="5283578"/>
              <a:ext cx="159842" cy="159628"/>
            </a:xfrm>
            <a:prstGeom prst="rect">
              <a:avLst/>
            </a:prstGeom>
          </p:spPr>
        </p:pic>
        <p:pic>
          <p:nvPicPr>
            <p:cNvPr id="14" name="object 14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6936529" y="5308102"/>
              <a:ext cx="159937" cy="112291"/>
            </a:xfrm>
            <a:prstGeom prst="rect">
              <a:avLst/>
            </a:prstGeom>
          </p:spPr>
        </p:pic>
        <p:sp>
          <p:nvSpPr>
            <p:cNvPr id="15" name="object 15"/>
            <p:cNvSpPr/>
            <p:nvPr/>
          </p:nvSpPr>
          <p:spPr>
            <a:xfrm>
              <a:off x="3910926" y="5200269"/>
              <a:ext cx="3547110" cy="403225"/>
            </a:xfrm>
            <a:custGeom>
              <a:avLst/>
              <a:gdLst/>
              <a:ahLst/>
              <a:cxnLst/>
              <a:rect l="l" t="t" r="r" b="b"/>
              <a:pathLst>
                <a:path w="3547109" h="403225">
                  <a:moveTo>
                    <a:pt x="183451" y="170840"/>
                  </a:moveTo>
                  <a:lnTo>
                    <a:pt x="166992" y="131127"/>
                  </a:lnTo>
                  <a:lnTo>
                    <a:pt x="154330" y="100584"/>
                  </a:lnTo>
                  <a:lnTo>
                    <a:pt x="129654" y="41008"/>
                  </a:lnTo>
                  <a:lnTo>
                    <a:pt x="116078" y="8255"/>
                  </a:lnTo>
                  <a:lnTo>
                    <a:pt x="116078" y="100584"/>
                  </a:lnTo>
                  <a:lnTo>
                    <a:pt x="67360" y="100584"/>
                  </a:lnTo>
                  <a:lnTo>
                    <a:pt x="91744" y="41008"/>
                  </a:lnTo>
                  <a:lnTo>
                    <a:pt x="116078" y="100584"/>
                  </a:lnTo>
                  <a:lnTo>
                    <a:pt x="116078" y="8255"/>
                  </a:lnTo>
                  <a:lnTo>
                    <a:pt x="112661" y="0"/>
                  </a:lnTo>
                  <a:lnTo>
                    <a:pt x="70777" y="0"/>
                  </a:lnTo>
                  <a:lnTo>
                    <a:pt x="0" y="170840"/>
                  </a:lnTo>
                  <a:lnTo>
                    <a:pt x="42773" y="170840"/>
                  </a:lnTo>
                  <a:lnTo>
                    <a:pt x="59232" y="131127"/>
                  </a:lnTo>
                  <a:lnTo>
                    <a:pt x="124421" y="131127"/>
                  </a:lnTo>
                  <a:lnTo>
                    <a:pt x="140881" y="170840"/>
                  </a:lnTo>
                  <a:lnTo>
                    <a:pt x="183451" y="170840"/>
                  </a:lnTo>
                  <a:close/>
                </a:path>
                <a:path w="3547109" h="403225">
                  <a:moveTo>
                    <a:pt x="295008" y="46126"/>
                  </a:moveTo>
                  <a:lnTo>
                    <a:pt x="244106" y="46126"/>
                  </a:lnTo>
                  <a:lnTo>
                    <a:pt x="231140" y="46570"/>
                  </a:lnTo>
                  <a:lnTo>
                    <a:pt x="197370" y="71513"/>
                  </a:lnTo>
                  <a:lnTo>
                    <a:pt x="194056" y="93954"/>
                  </a:lnTo>
                  <a:lnTo>
                    <a:pt x="194056" y="170802"/>
                  </a:lnTo>
                  <a:lnTo>
                    <a:pt x="228498" y="170802"/>
                  </a:lnTo>
                  <a:lnTo>
                    <a:pt x="228498" y="77520"/>
                  </a:lnTo>
                  <a:lnTo>
                    <a:pt x="233629" y="72605"/>
                  </a:lnTo>
                  <a:lnTo>
                    <a:pt x="295008" y="72605"/>
                  </a:lnTo>
                  <a:lnTo>
                    <a:pt x="295008" y="46126"/>
                  </a:lnTo>
                  <a:close/>
                </a:path>
                <a:path w="3547109" h="403225">
                  <a:moveTo>
                    <a:pt x="432003" y="110401"/>
                  </a:moveTo>
                  <a:lnTo>
                    <a:pt x="422795" y="72605"/>
                  </a:lnTo>
                  <a:lnTo>
                    <a:pt x="396938" y="49771"/>
                  </a:lnTo>
                  <a:lnTo>
                    <a:pt x="396938" y="107835"/>
                  </a:lnTo>
                  <a:lnTo>
                    <a:pt x="394792" y="123342"/>
                  </a:lnTo>
                  <a:lnTo>
                    <a:pt x="394728" y="123786"/>
                  </a:lnTo>
                  <a:lnTo>
                    <a:pt x="388048" y="135153"/>
                  </a:lnTo>
                  <a:lnTo>
                    <a:pt x="376999" y="141897"/>
                  </a:lnTo>
                  <a:lnTo>
                    <a:pt x="361442" y="144145"/>
                  </a:lnTo>
                  <a:lnTo>
                    <a:pt x="340487" y="144145"/>
                  </a:lnTo>
                  <a:lnTo>
                    <a:pt x="340487" y="72605"/>
                  </a:lnTo>
                  <a:lnTo>
                    <a:pt x="363994" y="72605"/>
                  </a:lnTo>
                  <a:lnTo>
                    <a:pt x="378079" y="74930"/>
                  </a:lnTo>
                  <a:lnTo>
                    <a:pt x="388416" y="81737"/>
                  </a:lnTo>
                  <a:lnTo>
                    <a:pt x="394779" y="92786"/>
                  </a:lnTo>
                  <a:lnTo>
                    <a:pt x="396938" y="107835"/>
                  </a:lnTo>
                  <a:lnTo>
                    <a:pt x="396938" y="49771"/>
                  </a:lnTo>
                  <a:lnTo>
                    <a:pt x="392772" y="48260"/>
                  </a:lnTo>
                  <a:lnTo>
                    <a:pt x="381330" y="46583"/>
                  </a:lnTo>
                  <a:lnTo>
                    <a:pt x="366153" y="46126"/>
                  </a:lnTo>
                  <a:lnTo>
                    <a:pt x="306057" y="46126"/>
                  </a:lnTo>
                  <a:lnTo>
                    <a:pt x="306057" y="217779"/>
                  </a:lnTo>
                  <a:lnTo>
                    <a:pt x="340474" y="217779"/>
                  </a:lnTo>
                  <a:lnTo>
                    <a:pt x="340474" y="170840"/>
                  </a:lnTo>
                  <a:lnTo>
                    <a:pt x="370840" y="170840"/>
                  </a:lnTo>
                  <a:lnTo>
                    <a:pt x="415759" y="154597"/>
                  </a:lnTo>
                  <a:lnTo>
                    <a:pt x="430961" y="123342"/>
                  </a:lnTo>
                  <a:lnTo>
                    <a:pt x="432003" y="110401"/>
                  </a:lnTo>
                  <a:close/>
                </a:path>
                <a:path w="3547109" h="403225">
                  <a:moveTo>
                    <a:pt x="574116" y="109753"/>
                  </a:moveTo>
                  <a:lnTo>
                    <a:pt x="563156" y="70675"/>
                  </a:lnTo>
                  <a:lnTo>
                    <a:pt x="538759" y="49682"/>
                  </a:lnTo>
                  <a:lnTo>
                    <a:pt x="538759" y="107632"/>
                  </a:lnTo>
                  <a:lnTo>
                    <a:pt x="538657" y="109753"/>
                  </a:lnTo>
                  <a:lnTo>
                    <a:pt x="536905" y="124917"/>
                  </a:lnTo>
                  <a:lnTo>
                    <a:pt x="531152" y="136804"/>
                  </a:lnTo>
                  <a:lnTo>
                    <a:pt x="521601" y="143903"/>
                  </a:lnTo>
                  <a:lnTo>
                    <a:pt x="508241" y="146278"/>
                  </a:lnTo>
                  <a:lnTo>
                    <a:pt x="494753" y="143903"/>
                  </a:lnTo>
                  <a:lnTo>
                    <a:pt x="484873" y="136804"/>
                  </a:lnTo>
                  <a:lnTo>
                    <a:pt x="478980" y="125095"/>
                  </a:lnTo>
                  <a:lnTo>
                    <a:pt x="477113" y="109753"/>
                  </a:lnTo>
                  <a:lnTo>
                    <a:pt x="477164" y="107632"/>
                  </a:lnTo>
                  <a:lnTo>
                    <a:pt x="478942" y="92125"/>
                  </a:lnTo>
                  <a:lnTo>
                    <a:pt x="484746" y="80187"/>
                  </a:lnTo>
                  <a:lnTo>
                    <a:pt x="494411" y="73063"/>
                  </a:lnTo>
                  <a:lnTo>
                    <a:pt x="508025" y="70675"/>
                  </a:lnTo>
                  <a:lnTo>
                    <a:pt x="521411" y="73063"/>
                  </a:lnTo>
                  <a:lnTo>
                    <a:pt x="531050" y="80187"/>
                  </a:lnTo>
                  <a:lnTo>
                    <a:pt x="536879" y="91935"/>
                  </a:lnTo>
                  <a:lnTo>
                    <a:pt x="538759" y="107632"/>
                  </a:lnTo>
                  <a:lnTo>
                    <a:pt x="538759" y="49682"/>
                  </a:lnTo>
                  <a:lnTo>
                    <a:pt x="538429" y="49491"/>
                  </a:lnTo>
                  <a:lnTo>
                    <a:pt x="524294" y="45529"/>
                  </a:lnTo>
                  <a:lnTo>
                    <a:pt x="507822" y="44208"/>
                  </a:lnTo>
                  <a:lnTo>
                    <a:pt x="480669" y="48742"/>
                  </a:lnTo>
                  <a:lnTo>
                    <a:pt x="459917" y="61582"/>
                  </a:lnTo>
                  <a:lnTo>
                    <a:pt x="446659" y="81597"/>
                  </a:lnTo>
                  <a:lnTo>
                    <a:pt x="441985" y="107632"/>
                  </a:lnTo>
                  <a:lnTo>
                    <a:pt x="446379" y="135140"/>
                  </a:lnTo>
                  <a:lnTo>
                    <a:pt x="459143" y="155511"/>
                  </a:lnTo>
                  <a:lnTo>
                    <a:pt x="479742" y="168160"/>
                  </a:lnTo>
                  <a:lnTo>
                    <a:pt x="507390" y="172504"/>
                  </a:lnTo>
                  <a:lnTo>
                    <a:pt x="535139" y="168160"/>
                  </a:lnTo>
                  <a:lnTo>
                    <a:pt x="556145" y="155702"/>
                  </a:lnTo>
                  <a:lnTo>
                    <a:pt x="562508" y="146278"/>
                  </a:lnTo>
                  <a:lnTo>
                    <a:pt x="569468" y="135953"/>
                  </a:lnTo>
                  <a:lnTo>
                    <a:pt x="574116" y="109753"/>
                  </a:lnTo>
                  <a:close/>
                </a:path>
                <a:path w="3547109" h="403225">
                  <a:moveTo>
                    <a:pt x="707910" y="93954"/>
                  </a:moveTo>
                  <a:lnTo>
                    <a:pt x="694867" y="55943"/>
                  </a:lnTo>
                  <a:lnTo>
                    <a:pt x="657872" y="46126"/>
                  </a:lnTo>
                  <a:lnTo>
                    <a:pt x="591566" y="46126"/>
                  </a:lnTo>
                  <a:lnTo>
                    <a:pt x="591566" y="170802"/>
                  </a:lnTo>
                  <a:lnTo>
                    <a:pt x="626008" y="170802"/>
                  </a:lnTo>
                  <a:lnTo>
                    <a:pt x="626008" y="72605"/>
                  </a:lnTo>
                  <a:lnTo>
                    <a:pt x="668350" y="72605"/>
                  </a:lnTo>
                  <a:lnTo>
                    <a:pt x="673481" y="77520"/>
                  </a:lnTo>
                  <a:lnTo>
                    <a:pt x="673481" y="170802"/>
                  </a:lnTo>
                  <a:lnTo>
                    <a:pt x="707910" y="170802"/>
                  </a:lnTo>
                  <a:lnTo>
                    <a:pt x="707910" y="93954"/>
                  </a:lnTo>
                  <a:close/>
                </a:path>
                <a:path w="3547109" h="403225">
                  <a:moveTo>
                    <a:pt x="856208" y="109753"/>
                  </a:moveTo>
                  <a:lnTo>
                    <a:pt x="845261" y="70675"/>
                  </a:lnTo>
                  <a:lnTo>
                    <a:pt x="820889" y="49695"/>
                  </a:lnTo>
                  <a:lnTo>
                    <a:pt x="820889" y="107632"/>
                  </a:lnTo>
                  <a:lnTo>
                    <a:pt x="820788" y="109753"/>
                  </a:lnTo>
                  <a:lnTo>
                    <a:pt x="819035" y="124917"/>
                  </a:lnTo>
                  <a:lnTo>
                    <a:pt x="813282" y="136804"/>
                  </a:lnTo>
                  <a:lnTo>
                    <a:pt x="803719" y="143903"/>
                  </a:lnTo>
                  <a:lnTo>
                    <a:pt x="790384" y="146278"/>
                  </a:lnTo>
                  <a:lnTo>
                    <a:pt x="776909" y="143903"/>
                  </a:lnTo>
                  <a:lnTo>
                    <a:pt x="767016" y="136804"/>
                  </a:lnTo>
                  <a:lnTo>
                    <a:pt x="761136" y="125095"/>
                  </a:lnTo>
                  <a:lnTo>
                    <a:pt x="759269" y="109753"/>
                  </a:lnTo>
                  <a:lnTo>
                    <a:pt x="759320" y="107632"/>
                  </a:lnTo>
                  <a:lnTo>
                    <a:pt x="761098" y="92125"/>
                  </a:lnTo>
                  <a:lnTo>
                    <a:pt x="766889" y="80187"/>
                  </a:lnTo>
                  <a:lnTo>
                    <a:pt x="776554" y="73063"/>
                  </a:lnTo>
                  <a:lnTo>
                    <a:pt x="790168" y="70675"/>
                  </a:lnTo>
                  <a:lnTo>
                    <a:pt x="803541" y="73063"/>
                  </a:lnTo>
                  <a:lnTo>
                    <a:pt x="813181" y="80187"/>
                  </a:lnTo>
                  <a:lnTo>
                    <a:pt x="819010" y="91935"/>
                  </a:lnTo>
                  <a:lnTo>
                    <a:pt x="820889" y="107632"/>
                  </a:lnTo>
                  <a:lnTo>
                    <a:pt x="820889" y="49695"/>
                  </a:lnTo>
                  <a:lnTo>
                    <a:pt x="820547" y="49491"/>
                  </a:lnTo>
                  <a:lnTo>
                    <a:pt x="806437" y="45529"/>
                  </a:lnTo>
                  <a:lnTo>
                    <a:pt x="789965" y="44208"/>
                  </a:lnTo>
                  <a:lnTo>
                    <a:pt x="762800" y="48742"/>
                  </a:lnTo>
                  <a:lnTo>
                    <a:pt x="742035" y="61582"/>
                  </a:lnTo>
                  <a:lnTo>
                    <a:pt x="728764" y="81597"/>
                  </a:lnTo>
                  <a:lnTo>
                    <a:pt x="724090" y="107632"/>
                  </a:lnTo>
                  <a:lnTo>
                    <a:pt x="728484" y="135140"/>
                  </a:lnTo>
                  <a:lnTo>
                    <a:pt x="741248" y="155511"/>
                  </a:lnTo>
                  <a:lnTo>
                    <a:pt x="761860" y="168160"/>
                  </a:lnTo>
                  <a:lnTo>
                    <a:pt x="789533" y="172504"/>
                  </a:lnTo>
                  <a:lnTo>
                    <a:pt x="817257" y="168160"/>
                  </a:lnTo>
                  <a:lnTo>
                    <a:pt x="838263" y="155702"/>
                  </a:lnTo>
                  <a:lnTo>
                    <a:pt x="844613" y="146278"/>
                  </a:lnTo>
                  <a:lnTo>
                    <a:pt x="851560" y="135953"/>
                  </a:lnTo>
                  <a:lnTo>
                    <a:pt x="856208" y="109753"/>
                  </a:lnTo>
                  <a:close/>
                </a:path>
                <a:path w="3547109" h="403225">
                  <a:moveTo>
                    <a:pt x="1014818" y="140296"/>
                  </a:moveTo>
                  <a:lnTo>
                    <a:pt x="997483" y="140296"/>
                  </a:lnTo>
                  <a:lnTo>
                    <a:pt x="997483" y="72605"/>
                  </a:lnTo>
                  <a:lnTo>
                    <a:pt x="997483" y="46126"/>
                  </a:lnTo>
                  <a:lnTo>
                    <a:pt x="963091" y="46126"/>
                  </a:lnTo>
                  <a:lnTo>
                    <a:pt x="963091" y="72605"/>
                  </a:lnTo>
                  <a:lnTo>
                    <a:pt x="963091" y="140296"/>
                  </a:lnTo>
                  <a:lnTo>
                    <a:pt x="912850" y="140296"/>
                  </a:lnTo>
                  <a:lnTo>
                    <a:pt x="915200" y="135140"/>
                  </a:lnTo>
                  <a:lnTo>
                    <a:pt x="915631" y="128130"/>
                  </a:lnTo>
                  <a:lnTo>
                    <a:pt x="915631" y="77520"/>
                  </a:lnTo>
                  <a:lnTo>
                    <a:pt x="920762" y="72605"/>
                  </a:lnTo>
                  <a:lnTo>
                    <a:pt x="963091" y="72605"/>
                  </a:lnTo>
                  <a:lnTo>
                    <a:pt x="963091" y="46126"/>
                  </a:lnTo>
                  <a:lnTo>
                    <a:pt x="931456" y="46126"/>
                  </a:lnTo>
                  <a:lnTo>
                    <a:pt x="918349" y="46570"/>
                  </a:lnTo>
                  <a:lnTo>
                    <a:pt x="884643" y="71513"/>
                  </a:lnTo>
                  <a:lnTo>
                    <a:pt x="881405" y="93954"/>
                  </a:lnTo>
                  <a:lnTo>
                    <a:pt x="881405" y="121716"/>
                  </a:lnTo>
                  <a:lnTo>
                    <a:pt x="880351" y="132626"/>
                  </a:lnTo>
                  <a:lnTo>
                    <a:pt x="880173" y="135140"/>
                  </a:lnTo>
                  <a:lnTo>
                    <a:pt x="880122" y="135813"/>
                  </a:lnTo>
                  <a:lnTo>
                    <a:pt x="878217" y="140296"/>
                  </a:lnTo>
                  <a:lnTo>
                    <a:pt x="862596" y="140296"/>
                  </a:lnTo>
                  <a:lnTo>
                    <a:pt x="862596" y="170802"/>
                  </a:lnTo>
                  <a:lnTo>
                    <a:pt x="1014818" y="170802"/>
                  </a:lnTo>
                  <a:lnTo>
                    <a:pt x="1014818" y="140296"/>
                  </a:lnTo>
                  <a:close/>
                </a:path>
                <a:path w="3547109" h="403225">
                  <a:moveTo>
                    <a:pt x="1175143" y="140296"/>
                  </a:moveTo>
                  <a:lnTo>
                    <a:pt x="1157795" y="140296"/>
                  </a:lnTo>
                  <a:lnTo>
                    <a:pt x="1157795" y="72605"/>
                  </a:lnTo>
                  <a:lnTo>
                    <a:pt x="1157795" y="46126"/>
                  </a:lnTo>
                  <a:lnTo>
                    <a:pt x="1123403" y="46126"/>
                  </a:lnTo>
                  <a:lnTo>
                    <a:pt x="1123403" y="72605"/>
                  </a:lnTo>
                  <a:lnTo>
                    <a:pt x="1123403" y="140296"/>
                  </a:lnTo>
                  <a:lnTo>
                    <a:pt x="1073099" y="140296"/>
                  </a:lnTo>
                  <a:lnTo>
                    <a:pt x="1075461" y="135140"/>
                  </a:lnTo>
                  <a:lnTo>
                    <a:pt x="1075944" y="128130"/>
                  </a:lnTo>
                  <a:lnTo>
                    <a:pt x="1075944" y="77520"/>
                  </a:lnTo>
                  <a:lnTo>
                    <a:pt x="1080960" y="72605"/>
                  </a:lnTo>
                  <a:lnTo>
                    <a:pt x="1123403" y="72605"/>
                  </a:lnTo>
                  <a:lnTo>
                    <a:pt x="1123403" y="46126"/>
                  </a:lnTo>
                  <a:lnTo>
                    <a:pt x="1091755" y="46126"/>
                  </a:lnTo>
                  <a:lnTo>
                    <a:pt x="1078674" y="46570"/>
                  </a:lnTo>
                  <a:lnTo>
                    <a:pt x="1044956" y="71513"/>
                  </a:lnTo>
                  <a:lnTo>
                    <a:pt x="1041730" y="93954"/>
                  </a:lnTo>
                  <a:lnTo>
                    <a:pt x="1041730" y="121716"/>
                  </a:lnTo>
                  <a:lnTo>
                    <a:pt x="1040599" y="132626"/>
                  </a:lnTo>
                  <a:lnTo>
                    <a:pt x="1040447" y="135140"/>
                  </a:lnTo>
                  <a:lnTo>
                    <a:pt x="1040409" y="135813"/>
                  </a:lnTo>
                  <a:lnTo>
                    <a:pt x="1038517" y="140296"/>
                  </a:lnTo>
                  <a:lnTo>
                    <a:pt x="1022883" y="140296"/>
                  </a:lnTo>
                  <a:lnTo>
                    <a:pt x="1022883" y="170802"/>
                  </a:lnTo>
                  <a:lnTo>
                    <a:pt x="1175143" y="170802"/>
                  </a:lnTo>
                  <a:lnTo>
                    <a:pt x="1175143" y="140296"/>
                  </a:lnTo>
                  <a:close/>
                </a:path>
                <a:path w="3547109" h="403225">
                  <a:moveTo>
                    <a:pt x="1291780" y="46126"/>
                  </a:moveTo>
                  <a:lnTo>
                    <a:pt x="1243457" y="46126"/>
                  </a:lnTo>
                  <a:lnTo>
                    <a:pt x="1231785" y="46621"/>
                  </a:lnTo>
                  <a:lnTo>
                    <a:pt x="1195717" y="64249"/>
                  </a:lnTo>
                  <a:lnTo>
                    <a:pt x="1181493" y="106756"/>
                  </a:lnTo>
                  <a:lnTo>
                    <a:pt x="1182801" y="121716"/>
                  </a:lnTo>
                  <a:lnTo>
                    <a:pt x="1182916" y="123075"/>
                  </a:lnTo>
                  <a:lnTo>
                    <a:pt x="1203845" y="159054"/>
                  </a:lnTo>
                  <a:lnTo>
                    <a:pt x="1246009" y="170802"/>
                  </a:lnTo>
                  <a:lnTo>
                    <a:pt x="1291780" y="170802"/>
                  </a:lnTo>
                  <a:lnTo>
                    <a:pt x="1291780" y="144145"/>
                  </a:lnTo>
                  <a:lnTo>
                    <a:pt x="1238808" y="144145"/>
                  </a:lnTo>
                  <a:lnTo>
                    <a:pt x="1233411" y="143040"/>
                  </a:lnTo>
                  <a:lnTo>
                    <a:pt x="1228483" y="139877"/>
                  </a:lnTo>
                  <a:lnTo>
                    <a:pt x="1222514" y="135813"/>
                  </a:lnTo>
                  <a:lnTo>
                    <a:pt x="1220152" y="131127"/>
                  </a:lnTo>
                  <a:lnTo>
                    <a:pt x="1219415" y="123075"/>
                  </a:lnTo>
                  <a:lnTo>
                    <a:pt x="1219288" y="121716"/>
                  </a:lnTo>
                  <a:lnTo>
                    <a:pt x="1291780" y="121716"/>
                  </a:lnTo>
                  <a:lnTo>
                    <a:pt x="1291780" y="95034"/>
                  </a:lnTo>
                  <a:lnTo>
                    <a:pt x="1219288" y="95034"/>
                  </a:lnTo>
                  <a:lnTo>
                    <a:pt x="1221473" y="84226"/>
                  </a:lnTo>
                  <a:lnTo>
                    <a:pt x="1226185" y="77330"/>
                  </a:lnTo>
                  <a:lnTo>
                    <a:pt x="1234135" y="73672"/>
                  </a:lnTo>
                  <a:lnTo>
                    <a:pt x="1246009" y="72605"/>
                  </a:lnTo>
                  <a:lnTo>
                    <a:pt x="1291780" y="72605"/>
                  </a:lnTo>
                  <a:lnTo>
                    <a:pt x="1291780" y="46126"/>
                  </a:lnTo>
                  <a:close/>
                </a:path>
                <a:path w="3547109" h="403225">
                  <a:moveTo>
                    <a:pt x="1439964" y="110401"/>
                  </a:moveTo>
                  <a:lnTo>
                    <a:pt x="1430705" y="72605"/>
                  </a:lnTo>
                  <a:lnTo>
                    <a:pt x="1404810" y="49758"/>
                  </a:lnTo>
                  <a:lnTo>
                    <a:pt x="1404810" y="107835"/>
                  </a:lnTo>
                  <a:lnTo>
                    <a:pt x="1402664" y="123342"/>
                  </a:lnTo>
                  <a:lnTo>
                    <a:pt x="1402600" y="123786"/>
                  </a:lnTo>
                  <a:lnTo>
                    <a:pt x="1395933" y="135153"/>
                  </a:lnTo>
                  <a:lnTo>
                    <a:pt x="1384909" y="141897"/>
                  </a:lnTo>
                  <a:lnTo>
                    <a:pt x="1369377" y="144145"/>
                  </a:lnTo>
                  <a:lnTo>
                    <a:pt x="1348435" y="144145"/>
                  </a:lnTo>
                  <a:lnTo>
                    <a:pt x="1348435" y="72605"/>
                  </a:lnTo>
                  <a:lnTo>
                    <a:pt x="1371930" y="72605"/>
                  </a:lnTo>
                  <a:lnTo>
                    <a:pt x="1385989" y="74930"/>
                  </a:lnTo>
                  <a:lnTo>
                    <a:pt x="1396301" y="81737"/>
                  </a:lnTo>
                  <a:lnTo>
                    <a:pt x="1402651" y="92786"/>
                  </a:lnTo>
                  <a:lnTo>
                    <a:pt x="1404810" y="107835"/>
                  </a:lnTo>
                  <a:lnTo>
                    <a:pt x="1404810" y="49758"/>
                  </a:lnTo>
                  <a:lnTo>
                    <a:pt x="1400657" y="48260"/>
                  </a:lnTo>
                  <a:lnTo>
                    <a:pt x="1389202" y="46583"/>
                  </a:lnTo>
                  <a:lnTo>
                    <a:pt x="1374013" y="46126"/>
                  </a:lnTo>
                  <a:lnTo>
                    <a:pt x="1313942" y="46126"/>
                  </a:lnTo>
                  <a:lnTo>
                    <a:pt x="1313942" y="217779"/>
                  </a:lnTo>
                  <a:lnTo>
                    <a:pt x="1348435" y="217779"/>
                  </a:lnTo>
                  <a:lnTo>
                    <a:pt x="1348435" y="170840"/>
                  </a:lnTo>
                  <a:lnTo>
                    <a:pt x="1378762" y="170840"/>
                  </a:lnTo>
                  <a:lnTo>
                    <a:pt x="1423670" y="154597"/>
                  </a:lnTo>
                  <a:lnTo>
                    <a:pt x="1431417" y="144145"/>
                  </a:lnTo>
                  <a:lnTo>
                    <a:pt x="1435798" y="135153"/>
                  </a:lnTo>
                  <a:lnTo>
                    <a:pt x="1438795" y="123786"/>
                  </a:lnTo>
                  <a:lnTo>
                    <a:pt x="1438910" y="123342"/>
                  </a:lnTo>
                  <a:lnTo>
                    <a:pt x="1439964" y="110401"/>
                  </a:lnTo>
                  <a:close/>
                </a:path>
                <a:path w="3547109" h="403225">
                  <a:moveTo>
                    <a:pt x="1522590" y="107632"/>
                  </a:moveTo>
                  <a:lnTo>
                    <a:pt x="1476819" y="46126"/>
                  </a:lnTo>
                  <a:lnTo>
                    <a:pt x="1438160" y="46126"/>
                  </a:lnTo>
                  <a:lnTo>
                    <a:pt x="1486204" y="107632"/>
                  </a:lnTo>
                  <a:lnTo>
                    <a:pt x="1436458" y="170802"/>
                  </a:lnTo>
                  <a:lnTo>
                    <a:pt x="1477860" y="170802"/>
                  </a:lnTo>
                  <a:lnTo>
                    <a:pt x="1522590" y="107632"/>
                  </a:lnTo>
                  <a:close/>
                </a:path>
                <a:path w="3547109" h="403225">
                  <a:moveTo>
                    <a:pt x="1558112" y="46126"/>
                  </a:moveTo>
                  <a:lnTo>
                    <a:pt x="1523631" y="46126"/>
                  </a:lnTo>
                  <a:lnTo>
                    <a:pt x="1523631" y="170802"/>
                  </a:lnTo>
                  <a:lnTo>
                    <a:pt x="1558112" y="170802"/>
                  </a:lnTo>
                  <a:lnTo>
                    <a:pt x="1558112" y="46126"/>
                  </a:lnTo>
                  <a:close/>
                </a:path>
                <a:path w="3547109" h="403225">
                  <a:moveTo>
                    <a:pt x="1645285" y="170802"/>
                  </a:moveTo>
                  <a:lnTo>
                    <a:pt x="1595539" y="107632"/>
                  </a:lnTo>
                  <a:lnTo>
                    <a:pt x="1643392" y="46126"/>
                  </a:lnTo>
                  <a:lnTo>
                    <a:pt x="1604733" y="46126"/>
                  </a:lnTo>
                  <a:lnTo>
                    <a:pt x="1558975" y="107632"/>
                  </a:lnTo>
                  <a:lnTo>
                    <a:pt x="1603590" y="170802"/>
                  </a:lnTo>
                  <a:lnTo>
                    <a:pt x="1645285" y="170802"/>
                  </a:lnTo>
                  <a:close/>
                </a:path>
                <a:path w="3547109" h="403225">
                  <a:moveTo>
                    <a:pt x="1690103" y="46126"/>
                  </a:moveTo>
                  <a:lnTo>
                    <a:pt x="1655711" y="46126"/>
                  </a:lnTo>
                  <a:lnTo>
                    <a:pt x="1655711" y="170802"/>
                  </a:lnTo>
                  <a:lnTo>
                    <a:pt x="1690103" y="170802"/>
                  </a:lnTo>
                  <a:lnTo>
                    <a:pt x="1690103" y="46126"/>
                  </a:lnTo>
                  <a:close/>
                </a:path>
                <a:path w="3547109" h="403225">
                  <a:moveTo>
                    <a:pt x="1777365" y="170802"/>
                  </a:moveTo>
                  <a:lnTo>
                    <a:pt x="1727530" y="107632"/>
                  </a:lnTo>
                  <a:lnTo>
                    <a:pt x="1775663" y="46126"/>
                  </a:lnTo>
                  <a:lnTo>
                    <a:pt x="1736725" y="46126"/>
                  </a:lnTo>
                  <a:lnTo>
                    <a:pt x="1691246" y="107632"/>
                  </a:lnTo>
                  <a:lnTo>
                    <a:pt x="1735861" y="170802"/>
                  </a:lnTo>
                  <a:lnTo>
                    <a:pt x="1777365" y="170802"/>
                  </a:lnTo>
                  <a:close/>
                </a:path>
                <a:path w="3547109" h="403225">
                  <a:moveTo>
                    <a:pt x="1906511" y="170802"/>
                  </a:moveTo>
                  <a:lnTo>
                    <a:pt x="1906473" y="144145"/>
                  </a:lnTo>
                  <a:lnTo>
                    <a:pt x="1906447" y="121716"/>
                  </a:lnTo>
                  <a:lnTo>
                    <a:pt x="1906397" y="92049"/>
                  </a:lnTo>
                  <a:lnTo>
                    <a:pt x="1887423" y="52908"/>
                  </a:lnTo>
                  <a:lnTo>
                    <a:pt x="1858810" y="46228"/>
                  </a:lnTo>
                  <a:lnTo>
                    <a:pt x="1787982" y="46228"/>
                  </a:lnTo>
                  <a:lnTo>
                    <a:pt x="1787982" y="72605"/>
                  </a:lnTo>
                  <a:lnTo>
                    <a:pt x="1845970" y="72605"/>
                  </a:lnTo>
                  <a:lnTo>
                    <a:pt x="1858797" y="73621"/>
                  </a:lnTo>
                  <a:lnTo>
                    <a:pt x="1866773" y="77165"/>
                  </a:lnTo>
                  <a:lnTo>
                    <a:pt x="1870875" y="84048"/>
                  </a:lnTo>
                  <a:lnTo>
                    <a:pt x="1872018" y="95034"/>
                  </a:lnTo>
                  <a:lnTo>
                    <a:pt x="1872018" y="121716"/>
                  </a:lnTo>
                  <a:lnTo>
                    <a:pt x="1872018" y="144145"/>
                  </a:lnTo>
                  <a:lnTo>
                    <a:pt x="1818767" y="144145"/>
                  </a:lnTo>
                  <a:lnTo>
                    <a:pt x="1813852" y="141782"/>
                  </a:lnTo>
                  <a:lnTo>
                    <a:pt x="1813852" y="124498"/>
                  </a:lnTo>
                  <a:lnTo>
                    <a:pt x="1818589" y="121716"/>
                  </a:lnTo>
                  <a:lnTo>
                    <a:pt x="1872018" y="121716"/>
                  </a:lnTo>
                  <a:lnTo>
                    <a:pt x="1872018" y="95034"/>
                  </a:lnTo>
                  <a:lnTo>
                    <a:pt x="1829714" y="95034"/>
                  </a:lnTo>
                  <a:lnTo>
                    <a:pt x="1821205" y="95211"/>
                  </a:lnTo>
                  <a:lnTo>
                    <a:pt x="1785289" y="110959"/>
                  </a:lnTo>
                  <a:lnTo>
                    <a:pt x="1778977" y="133896"/>
                  </a:lnTo>
                  <a:lnTo>
                    <a:pt x="1779930" y="143014"/>
                  </a:lnTo>
                  <a:lnTo>
                    <a:pt x="1817649" y="170548"/>
                  </a:lnTo>
                  <a:lnTo>
                    <a:pt x="1834222" y="170802"/>
                  </a:lnTo>
                  <a:lnTo>
                    <a:pt x="1906511" y="170802"/>
                  </a:lnTo>
                  <a:close/>
                </a:path>
                <a:path w="3547109" h="403225">
                  <a:moveTo>
                    <a:pt x="3546932" y="389331"/>
                  </a:moveTo>
                  <a:lnTo>
                    <a:pt x="146240" y="389331"/>
                  </a:lnTo>
                  <a:lnTo>
                    <a:pt x="146240" y="372287"/>
                  </a:lnTo>
                  <a:lnTo>
                    <a:pt x="93865" y="372287"/>
                  </a:lnTo>
                  <a:lnTo>
                    <a:pt x="56311" y="357136"/>
                  </a:lnTo>
                  <a:lnTo>
                    <a:pt x="47472" y="314413"/>
                  </a:lnTo>
                  <a:lnTo>
                    <a:pt x="48018" y="301955"/>
                  </a:lnTo>
                  <a:lnTo>
                    <a:pt x="70789" y="265811"/>
                  </a:lnTo>
                  <a:lnTo>
                    <a:pt x="92557" y="262305"/>
                  </a:lnTo>
                  <a:lnTo>
                    <a:pt x="146240" y="262305"/>
                  </a:lnTo>
                  <a:lnTo>
                    <a:pt x="146240" y="231990"/>
                  </a:lnTo>
                  <a:lnTo>
                    <a:pt x="88315" y="231990"/>
                  </a:lnTo>
                  <a:lnTo>
                    <a:pt x="75844" y="232537"/>
                  </a:lnTo>
                  <a:lnTo>
                    <a:pt x="28790" y="251167"/>
                  </a:lnTo>
                  <a:lnTo>
                    <a:pt x="9563" y="290957"/>
                  </a:lnTo>
                  <a:lnTo>
                    <a:pt x="7048" y="317817"/>
                  </a:lnTo>
                  <a:lnTo>
                    <a:pt x="8547" y="339280"/>
                  </a:lnTo>
                  <a:lnTo>
                    <a:pt x="29730" y="385953"/>
                  </a:lnTo>
                  <a:lnTo>
                    <a:pt x="67132" y="401993"/>
                  </a:lnTo>
                  <a:lnTo>
                    <a:pt x="86601" y="402831"/>
                  </a:lnTo>
                  <a:lnTo>
                    <a:pt x="146240" y="402831"/>
                  </a:lnTo>
                  <a:lnTo>
                    <a:pt x="3546932" y="402793"/>
                  </a:lnTo>
                  <a:lnTo>
                    <a:pt x="3546932" y="389331"/>
                  </a:lnTo>
                  <a:close/>
                </a:path>
              </a:pathLst>
            </a:custGeom>
            <a:solidFill>
              <a:srgbClr val="FDFDFD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6" name="object 16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4076878" y="5465204"/>
              <a:ext cx="116333" cy="124686"/>
            </a:xfrm>
            <a:prstGeom prst="rect">
              <a:avLst/>
            </a:prstGeom>
          </p:spPr>
        </p:pic>
        <p:sp>
          <p:nvSpPr>
            <p:cNvPr id="17" name="object 17"/>
            <p:cNvSpPr/>
            <p:nvPr/>
          </p:nvSpPr>
          <p:spPr>
            <a:xfrm>
              <a:off x="4225226" y="5465660"/>
              <a:ext cx="116839" cy="124460"/>
            </a:xfrm>
            <a:custGeom>
              <a:avLst/>
              <a:gdLst/>
              <a:ahLst/>
              <a:cxnLst/>
              <a:rect l="l" t="t" r="r" b="b"/>
              <a:pathLst>
                <a:path w="116839" h="124460">
                  <a:moveTo>
                    <a:pt x="116293" y="0"/>
                  </a:moveTo>
                  <a:lnTo>
                    <a:pt x="81851" y="0"/>
                  </a:lnTo>
                  <a:lnTo>
                    <a:pt x="81851" y="48234"/>
                  </a:lnTo>
                  <a:lnTo>
                    <a:pt x="34378" y="48234"/>
                  </a:lnTo>
                  <a:lnTo>
                    <a:pt x="34378" y="0"/>
                  </a:lnTo>
                  <a:lnTo>
                    <a:pt x="0" y="0"/>
                  </a:lnTo>
                  <a:lnTo>
                    <a:pt x="0" y="48234"/>
                  </a:lnTo>
                  <a:lnTo>
                    <a:pt x="0" y="74879"/>
                  </a:lnTo>
                  <a:lnTo>
                    <a:pt x="0" y="124371"/>
                  </a:lnTo>
                  <a:lnTo>
                    <a:pt x="34378" y="124371"/>
                  </a:lnTo>
                  <a:lnTo>
                    <a:pt x="34378" y="74879"/>
                  </a:lnTo>
                  <a:lnTo>
                    <a:pt x="81851" y="74879"/>
                  </a:lnTo>
                  <a:lnTo>
                    <a:pt x="81851" y="124371"/>
                  </a:lnTo>
                  <a:lnTo>
                    <a:pt x="116293" y="124371"/>
                  </a:lnTo>
                  <a:lnTo>
                    <a:pt x="116293" y="74879"/>
                  </a:lnTo>
                  <a:lnTo>
                    <a:pt x="116293" y="48234"/>
                  </a:lnTo>
                  <a:lnTo>
                    <a:pt x="116293" y="0"/>
                  </a:lnTo>
                  <a:close/>
                </a:path>
              </a:pathLst>
            </a:custGeom>
            <a:solidFill>
              <a:srgbClr val="FDFDFD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8" name="object 18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4373519" y="5465204"/>
              <a:ext cx="213783" cy="124686"/>
            </a:xfrm>
            <a:prstGeom prst="rect">
              <a:avLst/>
            </a:prstGeom>
          </p:spPr>
        </p:pic>
        <p:sp>
          <p:nvSpPr>
            <p:cNvPr id="19" name="object 19"/>
            <p:cNvSpPr/>
            <p:nvPr/>
          </p:nvSpPr>
          <p:spPr>
            <a:xfrm>
              <a:off x="4615662" y="5465660"/>
              <a:ext cx="240029" cy="124460"/>
            </a:xfrm>
            <a:custGeom>
              <a:avLst/>
              <a:gdLst/>
              <a:ahLst/>
              <a:cxnLst/>
              <a:rect l="l" t="t" r="r" b="b"/>
              <a:pathLst>
                <a:path w="240029" h="124460">
                  <a:moveTo>
                    <a:pt x="116306" y="0"/>
                  </a:moveTo>
                  <a:lnTo>
                    <a:pt x="81876" y="0"/>
                  </a:lnTo>
                  <a:lnTo>
                    <a:pt x="81876" y="48234"/>
                  </a:lnTo>
                  <a:lnTo>
                    <a:pt x="34442" y="48234"/>
                  </a:lnTo>
                  <a:lnTo>
                    <a:pt x="34442" y="0"/>
                  </a:lnTo>
                  <a:lnTo>
                    <a:pt x="0" y="0"/>
                  </a:lnTo>
                  <a:lnTo>
                    <a:pt x="0" y="48234"/>
                  </a:lnTo>
                  <a:lnTo>
                    <a:pt x="0" y="74879"/>
                  </a:lnTo>
                  <a:lnTo>
                    <a:pt x="0" y="124371"/>
                  </a:lnTo>
                  <a:lnTo>
                    <a:pt x="34442" y="124371"/>
                  </a:lnTo>
                  <a:lnTo>
                    <a:pt x="34442" y="74879"/>
                  </a:lnTo>
                  <a:lnTo>
                    <a:pt x="81876" y="74879"/>
                  </a:lnTo>
                  <a:lnTo>
                    <a:pt x="81876" y="124371"/>
                  </a:lnTo>
                  <a:lnTo>
                    <a:pt x="116306" y="124371"/>
                  </a:lnTo>
                  <a:lnTo>
                    <a:pt x="116306" y="74879"/>
                  </a:lnTo>
                  <a:lnTo>
                    <a:pt x="116306" y="48234"/>
                  </a:lnTo>
                  <a:lnTo>
                    <a:pt x="116306" y="0"/>
                  </a:lnTo>
                  <a:close/>
                </a:path>
                <a:path w="240029" h="124460">
                  <a:moveTo>
                    <a:pt x="239420" y="0"/>
                  </a:moveTo>
                  <a:lnTo>
                    <a:pt x="125425" y="0"/>
                  </a:lnTo>
                  <a:lnTo>
                    <a:pt x="125425" y="26657"/>
                  </a:lnTo>
                  <a:lnTo>
                    <a:pt x="165239" y="26657"/>
                  </a:lnTo>
                  <a:lnTo>
                    <a:pt x="165239" y="124371"/>
                  </a:lnTo>
                  <a:lnTo>
                    <a:pt x="199644" y="124371"/>
                  </a:lnTo>
                  <a:lnTo>
                    <a:pt x="199644" y="26657"/>
                  </a:lnTo>
                  <a:lnTo>
                    <a:pt x="239420" y="26657"/>
                  </a:lnTo>
                  <a:lnTo>
                    <a:pt x="239420" y="0"/>
                  </a:lnTo>
                  <a:close/>
                </a:path>
              </a:pathLst>
            </a:custGeom>
            <a:solidFill>
              <a:srgbClr val="FDFDFD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20" name="object 20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4874498" y="5465204"/>
              <a:ext cx="182203" cy="124686"/>
            </a:xfrm>
            <a:prstGeom prst="rect">
              <a:avLst/>
            </a:prstGeom>
          </p:spPr>
        </p:pic>
        <p:pic>
          <p:nvPicPr>
            <p:cNvPr id="21" name="object 21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3928426" y="5664909"/>
              <a:ext cx="502265" cy="162374"/>
            </a:xfrm>
            <a:prstGeom prst="rect">
              <a:avLst/>
            </a:prstGeom>
          </p:spPr>
        </p:pic>
        <p:pic>
          <p:nvPicPr>
            <p:cNvPr id="22" name="object 22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4452218" y="5697224"/>
              <a:ext cx="266245" cy="97878"/>
            </a:xfrm>
            <a:prstGeom prst="rect">
              <a:avLst/>
            </a:prstGeom>
          </p:spPr>
        </p:pic>
        <p:pic>
          <p:nvPicPr>
            <p:cNvPr id="23" name="object 23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4768615" y="5697044"/>
              <a:ext cx="473699" cy="98058"/>
            </a:xfrm>
            <a:prstGeom prst="rect">
              <a:avLst/>
            </a:prstGeom>
          </p:spPr>
        </p:pic>
        <p:sp>
          <p:nvSpPr>
            <p:cNvPr id="24" name="object 24"/>
            <p:cNvSpPr/>
            <p:nvPr/>
          </p:nvSpPr>
          <p:spPr>
            <a:xfrm>
              <a:off x="5284089" y="5672861"/>
              <a:ext cx="1978025" cy="153670"/>
            </a:xfrm>
            <a:custGeom>
              <a:avLst/>
              <a:gdLst/>
              <a:ahLst/>
              <a:cxnLst/>
              <a:rect l="l" t="t" r="r" b="b"/>
              <a:pathLst>
                <a:path w="1978025" h="153670">
                  <a:moveTo>
                    <a:pt x="87274" y="74028"/>
                  </a:moveTo>
                  <a:lnTo>
                    <a:pt x="84035" y="53428"/>
                  </a:lnTo>
                  <a:lnTo>
                    <a:pt x="76098" y="39928"/>
                  </a:lnTo>
                  <a:lnTo>
                    <a:pt x="74803" y="37719"/>
                  </a:lnTo>
                  <a:lnTo>
                    <a:pt x="60325" y="27711"/>
                  </a:lnTo>
                  <a:lnTo>
                    <a:pt x="41313" y="24193"/>
                  </a:lnTo>
                  <a:lnTo>
                    <a:pt x="25806" y="26314"/>
                  </a:lnTo>
                  <a:lnTo>
                    <a:pt x="13627" y="32448"/>
                  </a:lnTo>
                  <a:lnTo>
                    <a:pt x="5105" y="42265"/>
                  </a:lnTo>
                  <a:lnTo>
                    <a:pt x="571" y="55435"/>
                  </a:lnTo>
                  <a:lnTo>
                    <a:pt x="20942" y="55435"/>
                  </a:lnTo>
                  <a:lnTo>
                    <a:pt x="23876" y="48793"/>
                  </a:lnTo>
                  <a:lnTo>
                    <a:pt x="28295" y="43929"/>
                  </a:lnTo>
                  <a:lnTo>
                    <a:pt x="34099" y="40944"/>
                  </a:lnTo>
                  <a:lnTo>
                    <a:pt x="41122" y="39928"/>
                  </a:lnTo>
                  <a:lnTo>
                    <a:pt x="50444" y="41617"/>
                  </a:lnTo>
                  <a:lnTo>
                    <a:pt x="57810" y="46507"/>
                  </a:lnTo>
                  <a:lnTo>
                    <a:pt x="63068" y="54305"/>
                  </a:lnTo>
                  <a:lnTo>
                    <a:pt x="66040" y="64719"/>
                  </a:lnTo>
                  <a:lnTo>
                    <a:pt x="31838" y="64719"/>
                  </a:lnTo>
                  <a:lnTo>
                    <a:pt x="31838" y="79044"/>
                  </a:lnTo>
                  <a:lnTo>
                    <a:pt x="66230" y="79044"/>
                  </a:lnTo>
                  <a:lnTo>
                    <a:pt x="63703" y="90182"/>
                  </a:lnTo>
                  <a:lnTo>
                    <a:pt x="58674" y="98475"/>
                  </a:lnTo>
                  <a:lnTo>
                    <a:pt x="51333" y="103657"/>
                  </a:lnTo>
                  <a:lnTo>
                    <a:pt x="41884" y="105448"/>
                  </a:lnTo>
                  <a:lnTo>
                    <a:pt x="34226" y="104292"/>
                  </a:lnTo>
                  <a:lnTo>
                    <a:pt x="27978" y="100914"/>
                  </a:lnTo>
                  <a:lnTo>
                    <a:pt x="23253" y="95377"/>
                  </a:lnTo>
                  <a:lnTo>
                    <a:pt x="20180" y="87795"/>
                  </a:lnTo>
                  <a:lnTo>
                    <a:pt x="0" y="87795"/>
                  </a:lnTo>
                  <a:lnTo>
                    <a:pt x="5143" y="101803"/>
                  </a:lnTo>
                  <a:lnTo>
                    <a:pt x="14224" y="112433"/>
                  </a:lnTo>
                  <a:lnTo>
                    <a:pt x="26670" y="119176"/>
                  </a:lnTo>
                  <a:lnTo>
                    <a:pt x="41884" y="121539"/>
                  </a:lnTo>
                  <a:lnTo>
                    <a:pt x="60807" y="118033"/>
                  </a:lnTo>
                  <a:lnTo>
                    <a:pt x="75095" y="108229"/>
                  </a:lnTo>
                  <a:lnTo>
                    <a:pt x="76758" y="105448"/>
                  </a:lnTo>
                  <a:lnTo>
                    <a:pt x="84124" y="93205"/>
                  </a:lnTo>
                  <a:lnTo>
                    <a:pt x="87274" y="74028"/>
                  </a:lnTo>
                  <a:close/>
                </a:path>
                <a:path w="1978025" h="153670">
                  <a:moveTo>
                    <a:pt x="191109" y="119227"/>
                  </a:moveTo>
                  <a:lnTo>
                    <a:pt x="151041" y="64020"/>
                  </a:lnTo>
                  <a:lnTo>
                    <a:pt x="186944" y="27051"/>
                  </a:lnTo>
                  <a:lnTo>
                    <a:pt x="162115" y="27051"/>
                  </a:lnTo>
                  <a:lnTo>
                    <a:pt x="125260" y="67983"/>
                  </a:lnTo>
                  <a:lnTo>
                    <a:pt x="125260" y="27051"/>
                  </a:lnTo>
                  <a:lnTo>
                    <a:pt x="104889" y="27051"/>
                  </a:lnTo>
                  <a:lnTo>
                    <a:pt x="104889" y="119227"/>
                  </a:lnTo>
                  <a:lnTo>
                    <a:pt x="125260" y="119227"/>
                  </a:lnTo>
                  <a:lnTo>
                    <a:pt x="125260" y="90652"/>
                  </a:lnTo>
                  <a:lnTo>
                    <a:pt x="137388" y="77939"/>
                  </a:lnTo>
                  <a:lnTo>
                    <a:pt x="166382" y="119227"/>
                  </a:lnTo>
                  <a:lnTo>
                    <a:pt x="191109" y="119227"/>
                  </a:lnTo>
                  <a:close/>
                </a:path>
                <a:path w="1978025" h="153670">
                  <a:moveTo>
                    <a:pt x="277901" y="84378"/>
                  </a:moveTo>
                  <a:lnTo>
                    <a:pt x="257822" y="84378"/>
                  </a:lnTo>
                  <a:lnTo>
                    <a:pt x="255219" y="93205"/>
                  </a:lnTo>
                  <a:lnTo>
                    <a:pt x="255168" y="93408"/>
                  </a:lnTo>
                  <a:lnTo>
                    <a:pt x="250444" y="100012"/>
                  </a:lnTo>
                  <a:lnTo>
                    <a:pt x="243814" y="104063"/>
                  </a:lnTo>
                  <a:lnTo>
                    <a:pt x="235458" y="105448"/>
                  </a:lnTo>
                  <a:lnTo>
                    <a:pt x="225056" y="103238"/>
                  </a:lnTo>
                  <a:lnTo>
                    <a:pt x="217309" y="96837"/>
                  </a:lnTo>
                  <a:lnTo>
                    <a:pt x="212483" y="86626"/>
                  </a:lnTo>
                  <a:lnTo>
                    <a:pt x="210820" y="72961"/>
                  </a:lnTo>
                  <a:lnTo>
                    <a:pt x="212572" y="59131"/>
                  </a:lnTo>
                  <a:lnTo>
                    <a:pt x="217614" y="48742"/>
                  </a:lnTo>
                  <a:lnTo>
                    <a:pt x="225615" y="42202"/>
                  </a:lnTo>
                  <a:lnTo>
                    <a:pt x="236220" y="39928"/>
                  </a:lnTo>
                  <a:lnTo>
                    <a:pt x="243801" y="41109"/>
                  </a:lnTo>
                  <a:lnTo>
                    <a:pt x="249859" y="44589"/>
                  </a:lnTo>
                  <a:lnTo>
                    <a:pt x="254279" y="50241"/>
                  </a:lnTo>
                  <a:lnTo>
                    <a:pt x="256959" y="57975"/>
                  </a:lnTo>
                  <a:lnTo>
                    <a:pt x="277152" y="57975"/>
                  </a:lnTo>
                  <a:lnTo>
                    <a:pt x="252082" y="26479"/>
                  </a:lnTo>
                  <a:lnTo>
                    <a:pt x="236029" y="24193"/>
                  </a:lnTo>
                  <a:lnTo>
                    <a:pt x="217017" y="27711"/>
                  </a:lnTo>
                  <a:lnTo>
                    <a:pt x="202526" y="37719"/>
                  </a:lnTo>
                  <a:lnTo>
                    <a:pt x="193306" y="53428"/>
                  </a:lnTo>
                  <a:lnTo>
                    <a:pt x="190068" y="74028"/>
                  </a:lnTo>
                  <a:lnTo>
                    <a:pt x="193217" y="93205"/>
                  </a:lnTo>
                  <a:lnTo>
                    <a:pt x="202247" y="108229"/>
                  </a:lnTo>
                  <a:lnTo>
                    <a:pt x="216535" y="118033"/>
                  </a:lnTo>
                  <a:lnTo>
                    <a:pt x="235458" y="121539"/>
                  </a:lnTo>
                  <a:lnTo>
                    <a:pt x="251447" y="118922"/>
                  </a:lnTo>
                  <a:lnTo>
                    <a:pt x="264287" y="111480"/>
                  </a:lnTo>
                  <a:lnTo>
                    <a:pt x="268935" y="105448"/>
                  </a:lnTo>
                  <a:lnTo>
                    <a:pt x="273329" y="99771"/>
                  </a:lnTo>
                  <a:lnTo>
                    <a:pt x="277901" y="84378"/>
                  </a:lnTo>
                  <a:close/>
                </a:path>
                <a:path w="1978025" h="153670">
                  <a:moveTo>
                    <a:pt x="373418" y="27584"/>
                  </a:moveTo>
                  <a:lnTo>
                    <a:pt x="292214" y="27584"/>
                  </a:lnTo>
                  <a:lnTo>
                    <a:pt x="292214" y="42824"/>
                  </a:lnTo>
                  <a:lnTo>
                    <a:pt x="292214" y="118960"/>
                  </a:lnTo>
                  <a:lnTo>
                    <a:pt x="312585" y="118960"/>
                  </a:lnTo>
                  <a:lnTo>
                    <a:pt x="312585" y="42824"/>
                  </a:lnTo>
                  <a:lnTo>
                    <a:pt x="353034" y="42824"/>
                  </a:lnTo>
                  <a:lnTo>
                    <a:pt x="353034" y="118960"/>
                  </a:lnTo>
                  <a:lnTo>
                    <a:pt x="373418" y="118960"/>
                  </a:lnTo>
                  <a:lnTo>
                    <a:pt x="373418" y="42824"/>
                  </a:lnTo>
                  <a:lnTo>
                    <a:pt x="373418" y="27584"/>
                  </a:lnTo>
                  <a:close/>
                </a:path>
                <a:path w="1978025" h="153670">
                  <a:moveTo>
                    <a:pt x="477062" y="75971"/>
                  </a:moveTo>
                  <a:lnTo>
                    <a:pt x="475437" y="64554"/>
                  </a:lnTo>
                  <a:lnTo>
                    <a:pt x="474014" y="54508"/>
                  </a:lnTo>
                  <a:lnTo>
                    <a:pt x="465975" y="39573"/>
                  </a:lnTo>
                  <a:lnTo>
                    <a:pt x="465366" y="38430"/>
                  </a:lnTo>
                  <a:lnTo>
                    <a:pt x="465277" y="38252"/>
                  </a:lnTo>
                  <a:lnTo>
                    <a:pt x="456692" y="31851"/>
                  </a:lnTo>
                  <a:lnTo>
                    <a:pt x="456692" y="64554"/>
                  </a:lnTo>
                  <a:lnTo>
                    <a:pt x="409321" y="64554"/>
                  </a:lnTo>
                  <a:lnTo>
                    <a:pt x="411810" y="54508"/>
                  </a:lnTo>
                  <a:lnTo>
                    <a:pt x="411886" y="54203"/>
                  </a:lnTo>
                  <a:lnTo>
                    <a:pt x="411988" y="53797"/>
                  </a:lnTo>
                  <a:lnTo>
                    <a:pt x="416915" y="45974"/>
                  </a:lnTo>
                  <a:lnTo>
                    <a:pt x="423837" y="41300"/>
                  </a:lnTo>
                  <a:lnTo>
                    <a:pt x="423418" y="41300"/>
                  </a:lnTo>
                  <a:lnTo>
                    <a:pt x="433108" y="39573"/>
                  </a:lnTo>
                  <a:lnTo>
                    <a:pt x="442290" y="41300"/>
                  </a:lnTo>
                  <a:lnTo>
                    <a:pt x="449478" y="46240"/>
                  </a:lnTo>
                  <a:lnTo>
                    <a:pt x="454190" y="53797"/>
                  </a:lnTo>
                  <a:lnTo>
                    <a:pt x="454406" y="54203"/>
                  </a:lnTo>
                  <a:lnTo>
                    <a:pt x="456692" y="64554"/>
                  </a:lnTo>
                  <a:lnTo>
                    <a:pt x="456692" y="31851"/>
                  </a:lnTo>
                  <a:lnTo>
                    <a:pt x="451650" y="28079"/>
                  </a:lnTo>
                  <a:lnTo>
                    <a:pt x="452094" y="28079"/>
                  </a:lnTo>
                  <a:lnTo>
                    <a:pt x="433298" y="24371"/>
                  </a:lnTo>
                  <a:lnTo>
                    <a:pt x="415353" y="28079"/>
                  </a:lnTo>
                  <a:lnTo>
                    <a:pt x="401193" y="38430"/>
                  </a:lnTo>
                  <a:lnTo>
                    <a:pt x="391909" y="54203"/>
                  </a:lnTo>
                  <a:lnTo>
                    <a:pt x="388569" y="74193"/>
                  </a:lnTo>
                  <a:lnTo>
                    <a:pt x="391668" y="93319"/>
                  </a:lnTo>
                  <a:lnTo>
                    <a:pt x="400608" y="108546"/>
                  </a:lnTo>
                  <a:lnTo>
                    <a:pt x="414870" y="118605"/>
                  </a:lnTo>
                  <a:lnTo>
                    <a:pt x="433959" y="122250"/>
                  </a:lnTo>
                  <a:lnTo>
                    <a:pt x="448602" y="120116"/>
                  </a:lnTo>
                  <a:lnTo>
                    <a:pt x="460933" y="113931"/>
                  </a:lnTo>
                  <a:lnTo>
                    <a:pt x="467156" y="107264"/>
                  </a:lnTo>
                  <a:lnTo>
                    <a:pt x="470255" y="103949"/>
                  </a:lnTo>
                  <a:lnTo>
                    <a:pt x="475818" y="90525"/>
                  </a:lnTo>
                  <a:lnTo>
                    <a:pt x="456285" y="90525"/>
                  </a:lnTo>
                  <a:lnTo>
                    <a:pt x="452755" y="98056"/>
                  </a:lnTo>
                  <a:lnTo>
                    <a:pt x="448030" y="103289"/>
                  </a:lnTo>
                  <a:lnTo>
                    <a:pt x="441960" y="106299"/>
                  </a:lnTo>
                  <a:lnTo>
                    <a:pt x="434340" y="107264"/>
                  </a:lnTo>
                  <a:lnTo>
                    <a:pt x="423811" y="105321"/>
                  </a:lnTo>
                  <a:lnTo>
                    <a:pt x="415950" y="99669"/>
                  </a:lnTo>
                  <a:lnTo>
                    <a:pt x="410933" y="90525"/>
                  </a:lnTo>
                  <a:lnTo>
                    <a:pt x="408940" y="78155"/>
                  </a:lnTo>
                  <a:lnTo>
                    <a:pt x="477062" y="78155"/>
                  </a:lnTo>
                  <a:lnTo>
                    <a:pt x="477062" y="75971"/>
                  </a:lnTo>
                  <a:close/>
                </a:path>
                <a:path w="1978025" h="153670">
                  <a:moveTo>
                    <a:pt x="582714" y="73494"/>
                  </a:moveTo>
                  <a:lnTo>
                    <a:pt x="579755" y="53238"/>
                  </a:lnTo>
                  <a:lnTo>
                    <a:pt x="572985" y="40817"/>
                  </a:lnTo>
                  <a:lnTo>
                    <a:pt x="572211" y="39382"/>
                  </a:lnTo>
                  <a:lnTo>
                    <a:pt x="571322" y="37744"/>
                  </a:lnTo>
                  <a:lnTo>
                    <a:pt x="562152" y="30899"/>
                  </a:lnTo>
                  <a:lnTo>
                    <a:pt x="562152" y="73494"/>
                  </a:lnTo>
                  <a:lnTo>
                    <a:pt x="560425" y="86601"/>
                  </a:lnTo>
                  <a:lnTo>
                    <a:pt x="560400" y="86741"/>
                  </a:lnTo>
                  <a:lnTo>
                    <a:pt x="555383" y="96748"/>
                  </a:lnTo>
                  <a:lnTo>
                    <a:pt x="547446" y="103073"/>
                  </a:lnTo>
                  <a:lnTo>
                    <a:pt x="536943" y="105270"/>
                  </a:lnTo>
                  <a:lnTo>
                    <a:pt x="526046" y="103073"/>
                  </a:lnTo>
                  <a:lnTo>
                    <a:pt x="517918" y="96748"/>
                  </a:lnTo>
                  <a:lnTo>
                    <a:pt x="516128" y="93281"/>
                  </a:lnTo>
                  <a:lnTo>
                    <a:pt x="512826" y="86741"/>
                  </a:lnTo>
                  <a:lnTo>
                    <a:pt x="512749" y="86601"/>
                  </a:lnTo>
                  <a:lnTo>
                    <a:pt x="511035" y="73494"/>
                  </a:lnTo>
                  <a:lnTo>
                    <a:pt x="510984" y="73139"/>
                  </a:lnTo>
                  <a:lnTo>
                    <a:pt x="512673" y="59944"/>
                  </a:lnTo>
                  <a:lnTo>
                    <a:pt x="512724" y="59575"/>
                  </a:lnTo>
                  <a:lnTo>
                    <a:pt x="517613" y="49657"/>
                  </a:lnTo>
                  <a:lnTo>
                    <a:pt x="517740" y="49403"/>
                  </a:lnTo>
                  <a:lnTo>
                    <a:pt x="525678" y="43103"/>
                  </a:lnTo>
                  <a:lnTo>
                    <a:pt x="525386" y="43103"/>
                  </a:lnTo>
                  <a:lnTo>
                    <a:pt x="536575" y="40817"/>
                  </a:lnTo>
                  <a:lnTo>
                    <a:pt x="547204" y="43103"/>
                  </a:lnTo>
                  <a:lnTo>
                    <a:pt x="555256" y="49657"/>
                  </a:lnTo>
                  <a:lnTo>
                    <a:pt x="560362" y="59944"/>
                  </a:lnTo>
                  <a:lnTo>
                    <a:pt x="562102" y="73139"/>
                  </a:lnTo>
                  <a:lnTo>
                    <a:pt x="562152" y="73494"/>
                  </a:lnTo>
                  <a:lnTo>
                    <a:pt x="562152" y="30899"/>
                  </a:lnTo>
                  <a:lnTo>
                    <a:pt x="558088" y="27851"/>
                  </a:lnTo>
                  <a:lnTo>
                    <a:pt x="540740" y="24371"/>
                  </a:lnTo>
                  <a:lnTo>
                    <a:pt x="531863" y="25260"/>
                  </a:lnTo>
                  <a:lnTo>
                    <a:pt x="523582" y="27990"/>
                  </a:lnTo>
                  <a:lnTo>
                    <a:pt x="516343" y="32677"/>
                  </a:lnTo>
                  <a:lnTo>
                    <a:pt x="510603" y="39382"/>
                  </a:lnTo>
                  <a:lnTo>
                    <a:pt x="510603" y="27051"/>
                  </a:lnTo>
                  <a:lnTo>
                    <a:pt x="491464" y="27051"/>
                  </a:lnTo>
                  <a:lnTo>
                    <a:pt x="491464" y="153327"/>
                  </a:lnTo>
                  <a:lnTo>
                    <a:pt x="511746" y="153327"/>
                  </a:lnTo>
                  <a:lnTo>
                    <a:pt x="511746" y="107099"/>
                  </a:lnTo>
                  <a:lnTo>
                    <a:pt x="517753" y="113639"/>
                  </a:lnTo>
                  <a:lnTo>
                    <a:pt x="524814" y="118122"/>
                  </a:lnTo>
                  <a:lnTo>
                    <a:pt x="532841" y="120713"/>
                  </a:lnTo>
                  <a:lnTo>
                    <a:pt x="541782" y="121539"/>
                  </a:lnTo>
                  <a:lnTo>
                    <a:pt x="558622" y="118122"/>
                  </a:lnTo>
                  <a:lnTo>
                    <a:pt x="571550" y="108432"/>
                  </a:lnTo>
                  <a:lnTo>
                    <a:pt x="572287" y="107099"/>
                  </a:lnTo>
                  <a:lnTo>
                    <a:pt x="573278" y="105270"/>
                  </a:lnTo>
                  <a:lnTo>
                    <a:pt x="579805" y="93281"/>
                  </a:lnTo>
                  <a:lnTo>
                    <a:pt x="582714" y="73494"/>
                  </a:lnTo>
                  <a:close/>
                </a:path>
                <a:path w="1978025" h="153670">
                  <a:moveTo>
                    <a:pt x="669785" y="27584"/>
                  </a:moveTo>
                  <a:lnTo>
                    <a:pt x="588581" y="27584"/>
                  </a:lnTo>
                  <a:lnTo>
                    <a:pt x="588581" y="42824"/>
                  </a:lnTo>
                  <a:lnTo>
                    <a:pt x="618998" y="42824"/>
                  </a:lnTo>
                  <a:lnTo>
                    <a:pt x="618998" y="118960"/>
                  </a:lnTo>
                  <a:lnTo>
                    <a:pt x="639368" y="118960"/>
                  </a:lnTo>
                  <a:lnTo>
                    <a:pt x="639368" y="42824"/>
                  </a:lnTo>
                  <a:lnTo>
                    <a:pt x="669785" y="42824"/>
                  </a:lnTo>
                  <a:lnTo>
                    <a:pt x="669785" y="27584"/>
                  </a:lnTo>
                  <a:close/>
                </a:path>
                <a:path w="1978025" h="153670">
                  <a:moveTo>
                    <a:pt x="766813" y="105270"/>
                  </a:moveTo>
                  <a:lnTo>
                    <a:pt x="764247" y="105625"/>
                  </a:lnTo>
                  <a:lnTo>
                    <a:pt x="758380" y="105625"/>
                  </a:lnTo>
                  <a:lnTo>
                    <a:pt x="757364" y="104381"/>
                  </a:lnTo>
                  <a:lnTo>
                    <a:pt x="757237" y="72961"/>
                  </a:lnTo>
                  <a:lnTo>
                    <a:pt x="757237" y="52070"/>
                  </a:lnTo>
                  <a:lnTo>
                    <a:pt x="754380" y="39344"/>
                  </a:lnTo>
                  <a:lnTo>
                    <a:pt x="754100" y="39039"/>
                  </a:lnTo>
                  <a:lnTo>
                    <a:pt x="746467" y="30695"/>
                  </a:lnTo>
                  <a:lnTo>
                    <a:pt x="734453" y="25755"/>
                  </a:lnTo>
                  <a:lnTo>
                    <a:pt x="691553" y="31318"/>
                  </a:lnTo>
                  <a:lnTo>
                    <a:pt x="678980" y="55435"/>
                  </a:lnTo>
                  <a:lnTo>
                    <a:pt x="698309" y="55435"/>
                  </a:lnTo>
                  <a:lnTo>
                    <a:pt x="700328" y="47828"/>
                  </a:lnTo>
                  <a:lnTo>
                    <a:pt x="704215" y="42748"/>
                  </a:lnTo>
                  <a:lnTo>
                    <a:pt x="710285" y="39916"/>
                  </a:lnTo>
                  <a:lnTo>
                    <a:pt x="718870" y="39039"/>
                  </a:lnTo>
                  <a:lnTo>
                    <a:pt x="731659" y="39039"/>
                  </a:lnTo>
                  <a:lnTo>
                    <a:pt x="737819" y="43484"/>
                  </a:lnTo>
                  <a:lnTo>
                    <a:pt x="737819" y="56337"/>
                  </a:lnTo>
                  <a:lnTo>
                    <a:pt x="737819" y="95453"/>
                  </a:lnTo>
                  <a:lnTo>
                    <a:pt x="733552" y="99745"/>
                  </a:lnTo>
                  <a:lnTo>
                    <a:pt x="728814" y="104381"/>
                  </a:lnTo>
                  <a:lnTo>
                    <a:pt x="720953" y="107099"/>
                  </a:lnTo>
                  <a:lnTo>
                    <a:pt x="702005" y="107099"/>
                  </a:lnTo>
                  <a:lnTo>
                    <a:pt x="695934" y="102069"/>
                  </a:lnTo>
                  <a:lnTo>
                    <a:pt x="695934" y="81178"/>
                  </a:lnTo>
                  <a:lnTo>
                    <a:pt x="706081" y="79489"/>
                  </a:lnTo>
                  <a:lnTo>
                    <a:pt x="716114" y="77939"/>
                  </a:lnTo>
                  <a:lnTo>
                    <a:pt x="723506" y="76885"/>
                  </a:lnTo>
                  <a:lnTo>
                    <a:pt x="730999" y="76733"/>
                  </a:lnTo>
                  <a:lnTo>
                    <a:pt x="737628" y="72961"/>
                  </a:lnTo>
                  <a:lnTo>
                    <a:pt x="737628" y="89408"/>
                  </a:lnTo>
                  <a:lnTo>
                    <a:pt x="737768" y="94030"/>
                  </a:lnTo>
                  <a:lnTo>
                    <a:pt x="737819" y="95453"/>
                  </a:lnTo>
                  <a:lnTo>
                    <a:pt x="737819" y="56337"/>
                  </a:lnTo>
                  <a:lnTo>
                    <a:pt x="737438" y="58508"/>
                  </a:lnTo>
                  <a:lnTo>
                    <a:pt x="736485" y="59588"/>
                  </a:lnTo>
                  <a:lnTo>
                    <a:pt x="734593" y="62242"/>
                  </a:lnTo>
                  <a:lnTo>
                    <a:pt x="730427" y="63131"/>
                  </a:lnTo>
                  <a:lnTo>
                    <a:pt x="716305" y="64909"/>
                  </a:lnTo>
                  <a:lnTo>
                    <a:pt x="702106" y="67017"/>
                  </a:lnTo>
                  <a:lnTo>
                    <a:pt x="688759" y="71183"/>
                  </a:lnTo>
                  <a:lnTo>
                    <a:pt x="678865" y="79489"/>
                  </a:lnTo>
                  <a:lnTo>
                    <a:pt x="675005" y="94030"/>
                  </a:lnTo>
                  <a:lnTo>
                    <a:pt x="677138" y="105270"/>
                  </a:lnTo>
                  <a:lnTo>
                    <a:pt x="677176" y="105498"/>
                  </a:lnTo>
                  <a:lnTo>
                    <a:pt x="683412" y="114160"/>
                  </a:lnTo>
                  <a:lnTo>
                    <a:pt x="693229" y="119634"/>
                  </a:lnTo>
                  <a:lnTo>
                    <a:pt x="706170" y="121551"/>
                  </a:lnTo>
                  <a:lnTo>
                    <a:pt x="715149" y="120942"/>
                  </a:lnTo>
                  <a:lnTo>
                    <a:pt x="723709" y="119024"/>
                  </a:lnTo>
                  <a:lnTo>
                    <a:pt x="731583" y="115595"/>
                  </a:lnTo>
                  <a:lnTo>
                    <a:pt x="738479" y="110477"/>
                  </a:lnTo>
                  <a:lnTo>
                    <a:pt x="739902" y="118516"/>
                  </a:lnTo>
                  <a:lnTo>
                    <a:pt x="745680" y="121551"/>
                  </a:lnTo>
                  <a:lnTo>
                    <a:pt x="757428" y="121551"/>
                  </a:lnTo>
                  <a:lnTo>
                    <a:pt x="760374" y="121183"/>
                  </a:lnTo>
                  <a:lnTo>
                    <a:pt x="766597" y="119634"/>
                  </a:lnTo>
                  <a:lnTo>
                    <a:pt x="766813" y="119634"/>
                  </a:lnTo>
                  <a:lnTo>
                    <a:pt x="766813" y="110477"/>
                  </a:lnTo>
                  <a:lnTo>
                    <a:pt x="766813" y="107099"/>
                  </a:lnTo>
                  <a:lnTo>
                    <a:pt x="766813" y="105625"/>
                  </a:lnTo>
                  <a:lnTo>
                    <a:pt x="766813" y="105270"/>
                  </a:lnTo>
                  <a:close/>
                </a:path>
                <a:path w="1978025" h="153670">
                  <a:moveTo>
                    <a:pt x="1341272" y="83159"/>
                  </a:moveTo>
                  <a:lnTo>
                    <a:pt x="1308963" y="57721"/>
                  </a:lnTo>
                  <a:lnTo>
                    <a:pt x="1287653" y="54000"/>
                  </a:lnTo>
                  <a:lnTo>
                    <a:pt x="1287653" y="39471"/>
                  </a:lnTo>
                  <a:lnTo>
                    <a:pt x="1293139" y="35941"/>
                  </a:lnTo>
                  <a:lnTo>
                    <a:pt x="1312379" y="35941"/>
                  </a:lnTo>
                  <a:lnTo>
                    <a:pt x="1319301" y="39001"/>
                  </a:lnTo>
                  <a:lnTo>
                    <a:pt x="1320533" y="49136"/>
                  </a:lnTo>
                  <a:lnTo>
                    <a:pt x="1338148" y="49136"/>
                  </a:lnTo>
                  <a:lnTo>
                    <a:pt x="1303286" y="22567"/>
                  </a:lnTo>
                  <a:lnTo>
                    <a:pt x="1288973" y="24269"/>
                  </a:lnTo>
                  <a:lnTo>
                    <a:pt x="1278280" y="29210"/>
                  </a:lnTo>
                  <a:lnTo>
                    <a:pt x="1271587" y="37109"/>
                  </a:lnTo>
                  <a:lnTo>
                    <a:pt x="1269263" y="47688"/>
                  </a:lnTo>
                  <a:lnTo>
                    <a:pt x="1271917" y="58483"/>
                  </a:lnTo>
                  <a:lnTo>
                    <a:pt x="1279169" y="65151"/>
                  </a:lnTo>
                  <a:lnTo>
                    <a:pt x="1289977" y="69316"/>
                  </a:lnTo>
                  <a:lnTo>
                    <a:pt x="1313802" y="75272"/>
                  </a:lnTo>
                  <a:lnTo>
                    <a:pt x="1323174" y="76733"/>
                  </a:lnTo>
                  <a:lnTo>
                    <a:pt x="1323174" y="92494"/>
                  </a:lnTo>
                  <a:lnTo>
                    <a:pt x="1316075" y="97193"/>
                  </a:lnTo>
                  <a:lnTo>
                    <a:pt x="1305267" y="97193"/>
                  </a:lnTo>
                  <a:lnTo>
                    <a:pt x="1297419" y="96291"/>
                  </a:lnTo>
                  <a:lnTo>
                    <a:pt x="1291234" y="93472"/>
                  </a:lnTo>
                  <a:lnTo>
                    <a:pt x="1287030" y="88607"/>
                  </a:lnTo>
                  <a:lnTo>
                    <a:pt x="1285087" y="81534"/>
                  </a:lnTo>
                  <a:lnTo>
                    <a:pt x="1267472" y="81534"/>
                  </a:lnTo>
                  <a:lnTo>
                    <a:pt x="1270444" y="94094"/>
                  </a:lnTo>
                  <a:lnTo>
                    <a:pt x="1277759" y="103162"/>
                  </a:lnTo>
                  <a:lnTo>
                    <a:pt x="1289278" y="108686"/>
                  </a:lnTo>
                  <a:lnTo>
                    <a:pt x="1304899" y="110540"/>
                  </a:lnTo>
                  <a:lnTo>
                    <a:pt x="1319453" y="108686"/>
                  </a:lnTo>
                  <a:lnTo>
                    <a:pt x="1319834" y="108686"/>
                  </a:lnTo>
                  <a:lnTo>
                    <a:pt x="1331353" y="103162"/>
                  </a:lnTo>
                  <a:lnTo>
                    <a:pt x="1336446" y="97193"/>
                  </a:lnTo>
                  <a:lnTo>
                    <a:pt x="1338719" y="94500"/>
                  </a:lnTo>
                  <a:lnTo>
                    <a:pt x="1341272" y="83159"/>
                  </a:lnTo>
                  <a:close/>
                </a:path>
                <a:path w="1978025" h="153670">
                  <a:moveTo>
                    <a:pt x="1429296" y="24980"/>
                  </a:moveTo>
                  <a:lnTo>
                    <a:pt x="1410157" y="24980"/>
                  </a:lnTo>
                  <a:lnTo>
                    <a:pt x="1389126" y="86233"/>
                  </a:lnTo>
                  <a:lnTo>
                    <a:pt x="1366862" y="24980"/>
                  </a:lnTo>
                  <a:lnTo>
                    <a:pt x="1346771" y="24980"/>
                  </a:lnTo>
                  <a:lnTo>
                    <a:pt x="1378699" y="105702"/>
                  </a:lnTo>
                  <a:lnTo>
                    <a:pt x="1376235" y="112966"/>
                  </a:lnTo>
                  <a:lnTo>
                    <a:pt x="1373873" y="124561"/>
                  </a:lnTo>
                  <a:lnTo>
                    <a:pt x="1364488" y="124561"/>
                  </a:lnTo>
                  <a:lnTo>
                    <a:pt x="1359750" y="124421"/>
                  </a:lnTo>
                  <a:lnTo>
                    <a:pt x="1354823" y="123456"/>
                  </a:lnTo>
                  <a:lnTo>
                    <a:pt x="1354823" y="138912"/>
                  </a:lnTo>
                  <a:lnTo>
                    <a:pt x="1361084" y="139738"/>
                  </a:lnTo>
                  <a:lnTo>
                    <a:pt x="1367523" y="139865"/>
                  </a:lnTo>
                  <a:lnTo>
                    <a:pt x="1380159" y="136893"/>
                  </a:lnTo>
                  <a:lnTo>
                    <a:pt x="1388452" y="129171"/>
                  </a:lnTo>
                  <a:lnTo>
                    <a:pt x="1394028" y="118452"/>
                  </a:lnTo>
                  <a:lnTo>
                    <a:pt x="1398511" y="106514"/>
                  </a:lnTo>
                  <a:lnTo>
                    <a:pt x="1429296" y="24980"/>
                  </a:lnTo>
                  <a:close/>
                </a:path>
                <a:path w="1978025" h="153670">
                  <a:moveTo>
                    <a:pt x="1513052" y="52705"/>
                  </a:moveTo>
                  <a:lnTo>
                    <a:pt x="1511350" y="40068"/>
                  </a:lnTo>
                  <a:lnTo>
                    <a:pt x="1510233" y="38036"/>
                  </a:lnTo>
                  <a:lnTo>
                    <a:pt x="1509776" y="37223"/>
                  </a:lnTo>
                  <a:lnTo>
                    <a:pt x="1506207" y="30746"/>
                  </a:lnTo>
                  <a:lnTo>
                    <a:pt x="1497342" y="24765"/>
                  </a:lnTo>
                  <a:lnTo>
                    <a:pt x="1484820" y="22745"/>
                  </a:lnTo>
                  <a:lnTo>
                    <a:pt x="1476248" y="23596"/>
                  </a:lnTo>
                  <a:lnTo>
                    <a:pt x="1468970" y="26238"/>
                  </a:lnTo>
                  <a:lnTo>
                    <a:pt x="1462735" y="30746"/>
                  </a:lnTo>
                  <a:lnTo>
                    <a:pt x="1457248" y="37223"/>
                  </a:lnTo>
                  <a:lnTo>
                    <a:pt x="1457248" y="24980"/>
                  </a:lnTo>
                  <a:lnTo>
                    <a:pt x="1439811" y="24980"/>
                  </a:lnTo>
                  <a:lnTo>
                    <a:pt x="1439811" y="108153"/>
                  </a:lnTo>
                  <a:lnTo>
                    <a:pt x="1458201" y="108153"/>
                  </a:lnTo>
                  <a:lnTo>
                    <a:pt x="1458201" y="63347"/>
                  </a:lnTo>
                  <a:lnTo>
                    <a:pt x="1459776" y="51574"/>
                  </a:lnTo>
                  <a:lnTo>
                    <a:pt x="1459814" y="51295"/>
                  </a:lnTo>
                  <a:lnTo>
                    <a:pt x="1464195" y="43497"/>
                  </a:lnTo>
                  <a:lnTo>
                    <a:pt x="1470672" y="39293"/>
                  </a:lnTo>
                  <a:lnTo>
                    <a:pt x="1478572" y="38036"/>
                  </a:lnTo>
                  <a:lnTo>
                    <a:pt x="1487284" y="39827"/>
                  </a:lnTo>
                  <a:lnTo>
                    <a:pt x="1492135" y="44627"/>
                  </a:lnTo>
                  <a:lnTo>
                    <a:pt x="1494142" y="51295"/>
                  </a:lnTo>
                  <a:lnTo>
                    <a:pt x="1494231" y="51574"/>
                  </a:lnTo>
                  <a:lnTo>
                    <a:pt x="1494675" y="59778"/>
                  </a:lnTo>
                  <a:lnTo>
                    <a:pt x="1494675" y="108153"/>
                  </a:lnTo>
                  <a:lnTo>
                    <a:pt x="1513052" y="108153"/>
                  </a:lnTo>
                  <a:lnTo>
                    <a:pt x="1513052" y="52705"/>
                  </a:lnTo>
                  <a:close/>
                </a:path>
                <a:path w="1978025" h="153670">
                  <a:moveTo>
                    <a:pt x="1608658" y="24980"/>
                  </a:moveTo>
                  <a:lnTo>
                    <a:pt x="1591513" y="24980"/>
                  </a:lnTo>
                  <a:lnTo>
                    <a:pt x="1591513" y="36588"/>
                  </a:lnTo>
                  <a:lnTo>
                    <a:pt x="1591030" y="36017"/>
                  </a:lnTo>
                  <a:lnTo>
                    <a:pt x="1591030" y="64630"/>
                  </a:lnTo>
                  <a:lnTo>
                    <a:pt x="1589493" y="76403"/>
                  </a:lnTo>
                  <a:lnTo>
                    <a:pt x="1585061" y="85331"/>
                  </a:lnTo>
                  <a:lnTo>
                    <a:pt x="1577975" y="91059"/>
                  </a:lnTo>
                  <a:lnTo>
                    <a:pt x="1577771" y="91059"/>
                  </a:lnTo>
                  <a:lnTo>
                    <a:pt x="1568767" y="92989"/>
                  </a:lnTo>
                  <a:lnTo>
                    <a:pt x="1559687" y="91059"/>
                  </a:lnTo>
                  <a:lnTo>
                    <a:pt x="1552727" y="85572"/>
                  </a:lnTo>
                  <a:lnTo>
                    <a:pt x="1548269" y="76949"/>
                  </a:lnTo>
                  <a:lnTo>
                    <a:pt x="1546733" y="65913"/>
                  </a:lnTo>
                  <a:lnTo>
                    <a:pt x="1546821" y="64630"/>
                  </a:lnTo>
                  <a:lnTo>
                    <a:pt x="1548180" y="53797"/>
                  </a:lnTo>
                  <a:lnTo>
                    <a:pt x="1552511" y="44983"/>
                  </a:lnTo>
                  <a:lnTo>
                    <a:pt x="1559445" y="39458"/>
                  </a:lnTo>
                  <a:lnTo>
                    <a:pt x="1568767" y="37541"/>
                  </a:lnTo>
                  <a:lnTo>
                    <a:pt x="1578381" y="39458"/>
                  </a:lnTo>
                  <a:lnTo>
                    <a:pt x="1578165" y="39458"/>
                  </a:lnTo>
                  <a:lnTo>
                    <a:pt x="1585087" y="44742"/>
                  </a:lnTo>
                  <a:lnTo>
                    <a:pt x="1589506" y="53263"/>
                  </a:lnTo>
                  <a:lnTo>
                    <a:pt x="1591030" y="64630"/>
                  </a:lnTo>
                  <a:lnTo>
                    <a:pt x="1591030" y="36017"/>
                  </a:lnTo>
                  <a:lnTo>
                    <a:pt x="1586357" y="30480"/>
                  </a:lnTo>
                  <a:lnTo>
                    <a:pt x="1580591" y="26149"/>
                  </a:lnTo>
                  <a:lnTo>
                    <a:pt x="1573784" y="23583"/>
                  </a:lnTo>
                  <a:lnTo>
                    <a:pt x="1565554" y="22745"/>
                  </a:lnTo>
                  <a:lnTo>
                    <a:pt x="1550276" y="25819"/>
                  </a:lnTo>
                  <a:lnTo>
                    <a:pt x="1538554" y="34544"/>
                  </a:lnTo>
                  <a:lnTo>
                    <a:pt x="1531048" y="48158"/>
                  </a:lnTo>
                  <a:lnTo>
                    <a:pt x="1528457" y="65595"/>
                  </a:lnTo>
                  <a:lnTo>
                    <a:pt x="1528406" y="65913"/>
                  </a:lnTo>
                  <a:lnTo>
                    <a:pt x="1530946" y="83058"/>
                  </a:lnTo>
                  <a:lnTo>
                    <a:pt x="1538185" y="96113"/>
                  </a:lnTo>
                  <a:lnTo>
                    <a:pt x="1549590" y="104419"/>
                  </a:lnTo>
                  <a:lnTo>
                    <a:pt x="1564601" y="107340"/>
                  </a:lnTo>
                  <a:lnTo>
                    <a:pt x="1572882" y="106527"/>
                  </a:lnTo>
                  <a:lnTo>
                    <a:pt x="1579918" y="104013"/>
                  </a:lnTo>
                  <a:lnTo>
                    <a:pt x="1585912" y="99644"/>
                  </a:lnTo>
                  <a:lnTo>
                    <a:pt x="1591030" y="93319"/>
                  </a:lnTo>
                  <a:lnTo>
                    <a:pt x="1590941" y="104013"/>
                  </a:lnTo>
                  <a:lnTo>
                    <a:pt x="1589760" y="114173"/>
                  </a:lnTo>
                  <a:lnTo>
                    <a:pt x="1585798" y="121793"/>
                  </a:lnTo>
                  <a:lnTo>
                    <a:pt x="1578965" y="126199"/>
                  </a:lnTo>
                  <a:lnTo>
                    <a:pt x="1569059" y="127622"/>
                  </a:lnTo>
                  <a:lnTo>
                    <a:pt x="1557489" y="127622"/>
                  </a:lnTo>
                  <a:lnTo>
                    <a:pt x="1551520" y="123786"/>
                  </a:lnTo>
                  <a:lnTo>
                    <a:pt x="1549730" y="115239"/>
                  </a:lnTo>
                  <a:lnTo>
                    <a:pt x="1531340" y="115239"/>
                  </a:lnTo>
                  <a:lnTo>
                    <a:pt x="1534833" y="126199"/>
                  </a:lnTo>
                  <a:lnTo>
                    <a:pt x="1534871" y="126326"/>
                  </a:lnTo>
                  <a:lnTo>
                    <a:pt x="1542288" y="134226"/>
                  </a:lnTo>
                  <a:lnTo>
                    <a:pt x="1553540" y="138963"/>
                  </a:lnTo>
                  <a:lnTo>
                    <a:pt x="1568577" y="140538"/>
                  </a:lnTo>
                  <a:lnTo>
                    <a:pt x="1587512" y="137820"/>
                  </a:lnTo>
                  <a:lnTo>
                    <a:pt x="1599882" y="129768"/>
                  </a:lnTo>
                  <a:lnTo>
                    <a:pt x="1600987" y="127622"/>
                  </a:lnTo>
                  <a:lnTo>
                    <a:pt x="1606626" y="116598"/>
                  </a:lnTo>
                  <a:lnTo>
                    <a:pt x="1608658" y="98488"/>
                  </a:lnTo>
                  <a:lnTo>
                    <a:pt x="1608658" y="93319"/>
                  </a:lnTo>
                  <a:lnTo>
                    <a:pt x="1608658" y="92989"/>
                  </a:lnTo>
                  <a:lnTo>
                    <a:pt x="1608658" y="37541"/>
                  </a:lnTo>
                  <a:lnTo>
                    <a:pt x="1608658" y="36588"/>
                  </a:lnTo>
                  <a:lnTo>
                    <a:pt x="1608658" y="24980"/>
                  </a:lnTo>
                  <a:close/>
                </a:path>
                <a:path w="1978025" h="153670">
                  <a:moveTo>
                    <a:pt x="1703603" y="69138"/>
                  </a:moveTo>
                  <a:lnTo>
                    <a:pt x="1702142" y="58826"/>
                  </a:lnTo>
                  <a:lnTo>
                    <a:pt x="1700860" y="49771"/>
                  </a:lnTo>
                  <a:lnTo>
                    <a:pt x="1693633" y="36258"/>
                  </a:lnTo>
                  <a:lnTo>
                    <a:pt x="1693087" y="35255"/>
                  </a:lnTo>
                  <a:lnTo>
                    <a:pt x="1693011" y="35102"/>
                  </a:lnTo>
                  <a:lnTo>
                    <a:pt x="1685213" y="29286"/>
                  </a:lnTo>
                  <a:lnTo>
                    <a:pt x="1685213" y="58826"/>
                  </a:lnTo>
                  <a:lnTo>
                    <a:pt x="1642491" y="58826"/>
                  </a:lnTo>
                  <a:lnTo>
                    <a:pt x="1644738" y="49771"/>
                  </a:lnTo>
                  <a:lnTo>
                    <a:pt x="1644802" y="49479"/>
                  </a:lnTo>
                  <a:lnTo>
                    <a:pt x="1644904" y="49110"/>
                  </a:lnTo>
                  <a:lnTo>
                    <a:pt x="1649361" y="42037"/>
                  </a:lnTo>
                  <a:lnTo>
                    <a:pt x="1655635" y="37820"/>
                  </a:lnTo>
                  <a:lnTo>
                    <a:pt x="1655254" y="37820"/>
                  </a:lnTo>
                  <a:lnTo>
                    <a:pt x="1663992" y="36258"/>
                  </a:lnTo>
                  <a:lnTo>
                    <a:pt x="1672234" y="37820"/>
                  </a:lnTo>
                  <a:lnTo>
                    <a:pt x="1678724" y="42291"/>
                  </a:lnTo>
                  <a:lnTo>
                    <a:pt x="1682978" y="49110"/>
                  </a:lnTo>
                  <a:lnTo>
                    <a:pt x="1683169" y="49479"/>
                  </a:lnTo>
                  <a:lnTo>
                    <a:pt x="1685213" y="58826"/>
                  </a:lnTo>
                  <a:lnTo>
                    <a:pt x="1685213" y="29286"/>
                  </a:lnTo>
                  <a:lnTo>
                    <a:pt x="1680718" y="25920"/>
                  </a:lnTo>
                  <a:lnTo>
                    <a:pt x="1681124" y="25920"/>
                  </a:lnTo>
                  <a:lnTo>
                    <a:pt x="1664093" y="22567"/>
                  </a:lnTo>
                  <a:lnTo>
                    <a:pt x="1647952" y="25920"/>
                  </a:lnTo>
                  <a:lnTo>
                    <a:pt x="1635163" y="35255"/>
                  </a:lnTo>
                  <a:lnTo>
                    <a:pt x="1626755" y="49479"/>
                  </a:lnTo>
                  <a:lnTo>
                    <a:pt x="1623720" y="67513"/>
                  </a:lnTo>
                  <a:lnTo>
                    <a:pt x="1626527" y="84772"/>
                  </a:lnTo>
                  <a:lnTo>
                    <a:pt x="1634604" y="98513"/>
                  </a:lnTo>
                  <a:lnTo>
                    <a:pt x="1647507" y="107607"/>
                  </a:lnTo>
                  <a:lnTo>
                    <a:pt x="1664754" y="110896"/>
                  </a:lnTo>
                  <a:lnTo>
                    <a:pt x="1677974" y="108966"/>
                  </a:lnTo>
                  <a:lnTo>
                    <a:pt x="1689087" y="103365"/>
                  </a:lnTo>
                  <a:lnTo>
                    <a:pt x="1694700" y="97345"/>
                  </a:lnTo>
                  <a:lnTo>
                    <a:pt x="1697494" y="94348"/>
                  </a:lnTo>
                  <a:lnTo>
                    <a:pt x="1702523" y="82245"/>
                  </a:lnTo>
                  <a:lnTo>
                    <a:pt x="1684909" y="82245"/>
                  </a:lnTo>
                  <a:lnTo>
                    <a:pt x="1681238" y="92811"/>
                  </a:lnTo>
                  <a:lnTo>
                    <a:pt x="1675269" y="97345"/>
                  </a:lnTo>
                  <a:lnTo>
                    <a:pt x="1665135" y="97345"/>
                  </a:lnTo>
                  <a:lnTo>
                    <a:pt x="1655622" y="95592"/>
                  </a:lnTo>
                  <a:lnTo>
                    <a:pt x="1648510" y="90487"/>
                  </a:lnTo>
                  <a:lnTo>
                    <a:pt x="1643989" y="82245"/>
                  </a:lnTo>
                  <a:lnTo>
                    <a:pt x="1642198" y="71069"/>
                  </a:lnTo>
                  <a:lnTo>
                    <a:pt x="1703603" y="71069"/>
                  </a:lnTo>
                  <a:lnTo>
                    <a:pt x="1703603" y="69138"/>
                  </a:lnTo>
                  <a:close/>
                </a:path>
                <a:path w="1978025" h="153670">
                  <a:moveTo>
                    <a:pt x="1791144" y="52705"/>
                  </a:moveTo>
                  <a:lnTo>
                    <a:pt x="1789430" y="40068"/>
                  </a:lnTo>
                  <a:lnTo>
                    <a:pt x="1788299" y="38036"/>
                  </a:lnTo>
                  <a:lnTo>
                    <a:pt x="1787842" y="37223"/>
                  </a:lnTo>
                  <a:lnTo>
                    <a:pt x="1784261" y="30746"/>
                  </a:lnTo>
                  <a:lnTo>
                    <a:pt x="1775396" y="24765"/>
                  </a:lnTo>
                  <a:lnTo>
                    <a:pt x="1762912" y="22745"/>
                  </a:lnTo>
                  <a:lnTo>
                    <a:pt x="1754289" y="23596"/>
                  </a:lnTo>
                  <a:lnTo>
                    <a:pt x="1746999" y="26238"/>
                  </a:lnTo>
                  <a:lnTo>
                    <a:pt x="1740763" y="30746"/>
                  </a:lnTo>
                  <a:lnTo>
                    <a:pt x="1735340" y="37223"/>
                  </a:lnTo>
                  <a:lnTo>
                    <a:pt x="1735340" y="24980"/>
                  </a:lnTo>
                  <a:lnTo>
                    <a:pt x="1717903" y="24980"/>
                  </a:lnTo>
                  <a:lnTo>
                    <a:pt x="1717903" y="108153"/>
                  </a:lnTo>
                  <a:lnTo>
                    <a:pt x="1736293" y="108153"/>
                  </a:lnTo>
                  <a:lnTo>
                    <a:pt x="1736293" y="63347"/>
                  </a:lnTo>
                  <a:lnTo>
                    <a:pt x="1737855" y="51574"/>
                  </a:lnTo>
                  <a:lnTo>
                    <a:pt x="1737893" y="51295"/>
                  </a:lnTo>
                  <a:lnTo>
                    <a:pt x="1742274" y="43497"/>
                  </a:lnTo>
                  <a:lnTo>
                    <a:pt x="1748713" y="39293"/>
                  </a:lnTo>
                  <a:lnTo>
                    <a:pt x="1756562" y="38036"/>
                  </a:lnTo>
                  <a:lnTo>
                    <a:pt x="1765287" y="39827"/>
                  </a:lnTo>
                  <a:lnTo>
                    <a:pt x="1770176" y="44627"/>
                  </a:lnTo>
                  <a:lnTo>
                    <a:pt x="1772221" y="51295"/>
                  </a:lnTo>
                  <a:lnTo>
                    <a:pt x="1772297" y="51574"/>
                  </a:lnTo>
                  <a:lnTo>
                    <a:pt x="1772767" y="59778"/>
                  </a:lnTo>
                  <a:lnTo>
                    <a:pt x="1772767" y="108153"/>
                  </a:lnTo>
                  <a:lnTo>
                    <a:pt x="1791144" y="108153"/>
                  </a:lnTo>
                  <a:lnTo>
                    <a:pt x="1791144" y="52705"/>
                  </a:lnTo>
                  <a:close/>
                </a:path>
                <a:path w="1978025" h="153670">
                  <a:moveTo>
                    <a:pt x="1851025" y="24980"/>
                  </a:moveTo>
                  <a:lnTo>
                    <a:pt x="1834159" y="24980"/>
                  </a:lnTo>
                  <a:lnTo>
                    <a:pt x="1834159" y="0"/>
                  </a:lnTo>
                  <a:lnTo>
                    <a:pt x="1815782" y="0"/>
                  </a:lnTo>
                  <a:lnTo>
                    <a:pt x="1815782" y="24980"/>
                  </a:lnTo>
                  <a:lnTo>
                    <a:pt x="1801952" y="24980"/>
                  </a:lnTo>
                  <a:lnTo>
                    <a:pt x="1801952" y="38366"/>
                  </a:lnTo>
                  <a:lnTo>
                    <a:pt x="1815782" y="38366"/>
                  </a:lnTo>
                  <a:lnTo>
                    <a:pt x="1815782" y="78003"/>
                  </a:lnTo>
                  <a:lnTo>
                    <a:pt x="1815934" y="90081"/>
                  </a:lnTo>
                  <a:lnTo>
                    <a:pt x="1815934" y="90792"/>
                  </a:lnTo>
                  <a:lnTo>
                    <a:pt x="1818093" y="100533"/>
                  </a:lnTo>
                  <a:lnTo>
                    <a:pt x="1824774" y="106756"/>
                  </a:lnTo>
                  <a:lnTo>
                    <a:pt x="1838528" y="108940"/>
                  </a:lnTo>
                  <a:lnTo>
                    <a:pt x="1845538" y="108940"/>
                  </a:lnTo>
                  <a:lnTo>
                    <a:pt x="1851025" y="108305"/>
                  </a:lnTo>
                  <a:lnTo>
                    <a:pt x="1851025" y="94132"/>
                  </a:lnTo>
                  <a:lnTo>
                    <a:pt x="1851025" y="93776"/>
                  </a:lnTo>
                  <a:lnTo>
                    <a:pt x="1848192" y="94132"/>
                  </a:lnTo>
                  <a:lnTo>
                    <a:pt x="1833968" y="94132"/>
                  </a:lnTo>
                  <a:lnTo>
                    <a:pt x="1834134" y="90792"/>
                  </a:lnTo>
                  <a:lnTo>
                    <a:pt x="1834159" y="38366"/>
                  </a:lnTo>
                  <a:lnTo>
                    <a:pt x="1851025" y="38366"/>
                  </a:lnTo>
                  <a:lnTo>
                    <a:pt x="1851025" y="24980"/>
                  </a:lnTo>
                  <a:close/>
                </a:path>
                <a:path w="1978025" h="153670">
                  <a:moveTo>
                    <a:pt x="1942465" y="95567"/>
                  </a:moveTo>
                  <a:lnTo>
                    <a:pt x="1940191" y="95872"/>
                  </a:lnTo>
                  <a:lnTo>
                    <a:pt x="1934883" y="95872"/>
                  </a:lnTo>
                  <a:lnTo>
                    <a:pt x="1933930" y="94589"/>
                  </a:lnTo>
                  <a:lnTo>
                    <a:pt x="1933930" y="66408"/>
                  </a:lnTo>
                  <a:lnTo>
                    <a:pt x="1933930" y="47536"/>
                  </a:lnTo>
                  <a:lnTo>
                    <a:pt x="1931352" y="36068"/>
                  </a:lnTo>
                  <a:lnTo>
                    <a:pt x="1931073" y="35763"/>
                  </a:lnTo>
                  <a:lnTo>
                    <a:pt x="1924189" y="28257"/>
                  </a:lnTo>
                  <a:lnTo>
                    <a:pt x="1913636" y="23939"/>
                  </a:lnTo>
                  <a:lnTo>
                    <a:pt x="1914486" y="23939"/>
                  </a:lnTo>
                  <a:lnTo>
                    <a:pt x="1899729" y="22415"/>
                  </a:lnTo>
                  <a:lnTo>
                    <a:pt x="1885734" y="23939"/>
                  </a:lnTo>
                  <a:lnTo>
                    <a:pt x="1874634" y="28829"/>
                  </a:lnTo>
                  <a:lnTo>
                    <a:pt x="1866963" y="37566"/>
                  </a:lnTo>
                  <a:lnTo>
                    <a:pt x="1863255" y="50609"/>
                  </a:lnTo>
                  <a:lnTo>
                    <a:pt x="1880679" y="50609"/>
                  </a:lnTo>
                  <a:lnTo>
                    <a:pt x="1882101" y="39814"/>
                  </a:lnTo>
                  <a:lnTo>
                    <a:pt x="1887321" y="35763"/>
                  </a:lnTo>
                  <a:lnTo>
                    <a:pt x="1910816" y="35763"/>
                  </a:lnTo>
                  <a:lnTo>
                    <a:pt x="1916404" y="39814"/>
                  </a:lnTo>
                  <a:lnTo>
                    <a:pt x="1916404" y="51422"/>
                  </a:lnTo>
                  <a:lnTo>
                    <a:pt x="1916404" y="86690"/>
                  </a:lnTo>
                  <a:lnTo>
                    <a:pt x="1912429" y="90576"/>
                  </a:lnTo>
                  <a:lnTo>
                    <a:pt x="1908263" y="94780"/>
                  </a:lnTo>
                  <a:lnTo>
                    <a:pt x="1901151" y="97193"/>
                  </a:lnTo>
                  <a:lnTo>
                    <a:pt x="1884095" y="97193"/>
                  </a:lnTo>
                  <a:lnTo>
                    <a:pt x="1878596" y="92684"/>
                  </a:lnTo>
                  <a:lnTo>
                    <a:pt x="1878596" y="73812"/>
                  </a:lnTo>
                  <a:lnTo>
                    <a:pt x="1887740" y="72301"/>
                  </a:lnTo>
                  <a:lnTo>
                    <a:pt x="1903425" y="69926"/>
                  </a:lnTo>
                  <a:lnTo>
                    <a:pt x="1910156" y="69799"/>
                  </a:lnTo>
                  <a:lnTo>
                    <a:pt x="1916214" y="66408"/>
                  </a:lnTo>
                  <a:lnTo>
                    <a:pt x="1916214" y="81216"/>
                  </a:lnTo>
                  <a:lnTo>
                    <a:pt x="1916366" y="85420"/>
                  </a:lnTo>
                  <a:lnTo>
                    <a:pt x="1916404" y="86690"/>
                  </a:lnTo>
                  <a:lnTo>
                    <a:pt x="1916404" y="51422"/>
                  </a:lnTo>
                  <a:lnTo>
                    <a:pt x="1916023" y="53340"/>
                  </a:lnTo>
                  <a:lnTo>
                    <a:pt x="1915172" y="54292"/>
                  </a:lnTo>
                  <a:lnTo>
                    <a:pt x="1913369" y="56730"/>
                  </a:lnTo>
                  <a:lnTo>
                    <a:pt x="1909673" y="57556"/>
                  </a:lnTo>
                  <a:lnTo>
                    <a:pt x="1896986" y="59156"/>
                  </a:lnTo>
                  <a:lnTo>
                    <a:pt x="1884159" y="61036"/>
                  </a:lnTo>
                  <a:lnTo>
                    <a:pt x="1872094" y="64795"/>
                  </a:lnTo>
                  <a:lnTo>
                    <a:pt x="1863153" y="72301"/>
                  </a:lnTo>
                  <a:lnTo>
                    <a:pt x="1859648" y="85420"/>
                  </a:lnTo>
                  <a:lnTo>
                    <a:pt x="1861578" y="95567"/>
                  </a:lnTo>
                  <a:lnTo>
                    <a:pt x="1861693" y="95872"/>
                  </a:lnTo>
                  <a:lnTo>
                    <a:pt x="1867217" y="103555"/>
                  </a:lnTo>
                  <a:lnTo>
                    <a:pt x="1876082" y="108496"/>
                  </a:lnTo>
                  <a:lnTo>
                    <a:pt x="1887791" y="110223"/>
                  </a:lnTo>
                  <a:lnTo>
                    <a:pt x="1895919" y="109677"/>
                  </a:lnTo>
                  <a:lnTo>
                    <a:pt x="1903666" y="107937"/>
                  </a:lnTo>
                  <a:lnTo>
                    <a:pt x="1910765" y="104851"/>
                  </a:lnTo>
                  <a:lnTo>
                    <a:pt x="1916976" y="100228"/>
                  </a:lnTo>
                  <a:lnTo>
                    <a:pt x="1918208" y="107480"/>
                  </a:lnTo>
                  <a:lnTo>
                    <a:pt x="1923415" y="110223"/>
                  </a:lnTo>
                  <a:lnTo>
                    <a:pt x="1934121" y="110223"/>
                  </a:lnTo>
                  <a:lnTo>
                    <a:pt x="1936686" y="109893"/>
                  </a:lnTo>
                  <a:lnTo>
                    <a:pt x="1942401" y="108496"/>
                  </a:lnTo>
                  <a:lnTo>
                    <a:pt x="1942465" y="100228"/>
                  </a:lnTo>
                  <a:lnTo>
                    <a:pt x="1942465" y="97193"/>
                  </a:lnTo>
                  <a:lnTo>
                    <a:pt x="1942465" y="95872"/>
                  </a:lnTo>
                  <a:lnTo>
                    <a:pt x="1942465" y="95567"/>
                  </a:lnTo>
                  <a:close/>
                </a:path>
                <a:path w="1978025" h="153670">
                  <a:moveTo>
                    <a:pt x="1977504" y="86372"/>
                  </a:moveTo>
                  <a:lnTo>
                    <a:pt x="1955533" y="86372"/>
                  </a:lnTo>
                  <a:lnTo>
                    <a:pt x="1955533" y="108115"/>
                  </a:lnTo>
                  <a:lnTo>
                    <a:pt x="1977504" y="108115"/>
                  </a:lnTo>
                  <a:lnTo>
                    <a:pt x="1977504" y="86372"/>
                  </a:lnTo>
                  <a:close/>
                </a:path>
              </a:pathLst>
            </a:custGeom>
            <a:solidFill>
              <a:srgbClr val="FDFDFD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25" name="object 25"/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7281133" y="5695918"/>
              <a:ext cx="131512" cy="87329"/>
            </a:xfrm>
            <a:prstGeom prst="rect">
              <a:avLst/>
            </a:prstGeom>
          </p:spPr>
        </p:pic>
        <p:sp>
          <p:nvSpPr>
            <p:cNvPr id="26" name="object 26"/>
            <p:cNvSpPr/>
            <p:nvPr/>
          </p:nvSpPr>
          <p:spPr>
            <a:xfrm>
              <a:off x="7204102" y="5226959"/>
              <a:ext cx="273685" cy="273050"/>
            </a:xfrm>
            <a:custGeom>
              <a:avLst/>
              <a:gdLst/>
              <a:ahLst/>
              <a:cxnLst/>
              <a:rect l="l" t="t" r="r" b="b"/>
              <a:pathLst>
                <a:path w="273684" h="273050">
                  <a:moveTo>
                    <a:pt x="196131" y="0"/>
                  </a:moveTo>
                  <a:lnTo>
                    <a:pt x="77126" y="0"/>
                  </a:lnTo>
                  <a:lnTo>
                    <a:pt x="47127" y="6055"/>
                  </a:lnTo>
                  <a:lnTo>
                    <a:pt x="22609" y="22562"/>
                  </a:lnTo>
                  <a:lnTo>
                    <a:pt x="6068" y="47033"/>
                  </a:lnTo>
                  <a:lnTo>
                    <a:pt x="0" y="76980"/>
                  </a:lnTo>
                  <a:lnTo>
                    <a:pt x="0" y="195847"/>
                  </a:lnTo>
                  <a:lnTo>
                    <a:pt x="6068" y="225813"/>
                  </a:lnTo>
                  <a:lnTo>
                    <a:pt x="22609" y="250299"/>
                  </a:lnTo>
                  <a:lnTo>
                    <a:pt x="47127" y="266816"/>
                  </a:lnTo>
                  <a:lnTo>
                    <a:pt x="77126" y="272875"/>
                  </a:lnTo>
                  <a:lnTo>
                    <a:pt x="196131" y="272875"/>
                  </a:lnTo>
                  <a:lnTo>
                    <a:pt x="226129" y="266816"/>
                  </a:lnTo>
                  <a:lnTo>
                    <a:pt x="235057" y="260802"/>
                  </a:lnTo>
                  <a:lnTo>
                    <a:pt x="77126" y="260802"/>
                  </a:lnTo>
                  <a:lnTo>
                    <a:pt x="51820" y="255689"/>
                  </a:lnTo>
                  <a:lnTo>
                    <a:pt x="31160" y="241754"/>
                  </a:lnTo>
                  <a:lnTo>
                    <a:pt x="17234" y="221105"/>
                  </a:lnTo>
                  <a:lnTo>
                    <a:pt x="12127" y="195847"/>
                  </a:lnTo>
                  <a:lnTo>
                    <a:pt x="12127" y="76980"/>
                  </a:lnTo>
                  <a:lnTo>
                    <a:pt x="17234" y="51731"/>
                  </a:lnTo>
                  <a:lnTo>
                    <a:pt x="31160" y="31091"/>
                  </a:lnTo>
                  <a:lnTo>
                    <a:pt x="51820" y="17164"/>
                  </a:lnTo>
                  <a:lnTo>
                    <a:pt x="77126" y="12054"/>
                  </a:lnTo>
                  <a:lnTo>
                    <a:pt x="235039" y="12054"/>
                  </a:lnTo>
                  <a:lnTo>
                    <a:pt x="226129" y="6055"/>
                  </a:lnTo>
                  <a:lnTo>
                    <a:pt x="196131" y="0"/>
                  </a:lnTo>
                  <a:close/>
                </a:path>
                <a:path w="273684" h="273050">
                  <a:moveTo>
                    <a:pt x="235039" y="12054"/>
                  </a:moveTo>
                  <a:lnTo>
                    <a:pt x="196131" y="12054"/>
                  </a:lnTo>
                  <a:lnTo>
                    <a:pt x="221436" y="17164"/>
                  </a:lnTo>
                  <a:lnTo>
                    <a:pt x="242096" y="31091"/>
                  </a:lnTo>
                  <a:lnTo>
                    <a:pt x="256023" y="51731"/>
                  </a:lnTo>
                  <a:lnTo>
                    <a:pt x="261129" y="76980"/>
                  </a:lnTo>
                  <a:lnTo>
                    <a:pt x="261129" y="195847"/>
                  </a:lnTo>
                  <a:lnTo>
                    <a:pt x="256023" y="221105"/>
                  </a:lnTo>
                  <a:lnTo>
                    <a:pt x="242096" y="241754"/>
                  </a:lnTo>
                  <a:lnTo>
                    <a:pt x="221436" y="255689"/>
                  </a:lnTo>
                  <a:lnTo>
                    <a:pt x="196131" y="260802"/>
                  </a:lnTo>
                  <a:lnTo>
                    <a:pt x="235057" y="260802"/>
                  </a:lnTo>
                  <a:lnTo>
                    <a:pt x="250647" y="250299"/>
                  </a:lnTo>
                  <a:lnTo>
                    <a:pt x="267188" y="225813"/>
                  </a:lnTo>
                  <a:lnTo>
                    <a:pt x="273257" y="195847"/>
                  </a:lnTo>
                  <a:lnTo>
                    <a:pt x="273257" y="76980"/>
                  </a:lnTo>
                  <a:lnTo>
                    <a:pt x="267188" y="47033"/>
                  </a:lnTo>
                  <a:lnTo>
                    <a:pt x="250647" y="22562"/>
                  </a:lnTo>
                  <a:lnTo>
                    <a:pt x="235039" y="12054"/>
                  </a:lnTo>
                  <a:close/>
                </a:path>
              </a:pathLst>
            </a:custGeom>
            <a:solidFill>
              <a:srgbClr val="FDFDFD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27" name="object 27"/>
            <p:cNvPicPr/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7251666" y="5292368"/>
              <a:ext cx="164674" cy="143874"/>
            </a:xfrm>
            <a:prstGeom prst="rect">
              <a:avLst/>
            </a:prstGeom>
          </p:spPr>
        </p:pic>
        <p:pic>
          <p:nvPicPr>
            <p:cNvPr id="28" name="object 28"/>
            <p:cNvPicPr/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6619592" y="5316466"/>
              <a:ext cx="185708" cy="109509"/>
            </a:xfrm>
            <a:prstGeom prst="rect">
              <a:avLst/>
            </a:prstGeom>
          </p:spPr>
        </p:pic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2CA29402-1949-3591-7C1E-30B7697C840A}"/>
              </a:ext>
            </a:extLst>
          </p:cNvPr>
          <p:cNvSpPr txBox="1"/>
          <p:nvPr/>
        </p:nvSpPr>
        <p:spPr>
          <a:xfrm>
            <a:off x="449871" y="3680342"/>
            <a:ext cx="476671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err="1">
                <a:solidFill>
                  <a:schemeClr val="bg1"/>
                </a:solidFill>
              </a:rPr>
              <a:t>Безволенко</a:t>
            </a:r>
            <a:r>
              <a:rPr lang="ru-RU" sz="2400" b="1" dirty="0">
                <a:solidFill>
                  <a:schemeClr val="bg1"/>
                </a:solidFill>
              </a:rPr>
              <a:t> Сергей</a:t>
            </a:r>
          </a:p>
          <a:p>
            <a:r>
              <a:rPr lang="ru-RU" sz="2400" b="1" dirty="0">
                <a:solidFill>
                  <a:schemeClr val="bg1"/>
                </a:solidFill>
              </a:rPr>
              <a:t>       </a:t>
            </a:r>
            <a:r>
              <a:rPr lang="ru-RU" sz="2400" b="1" dirty="0">
                <a:solidFill>
                  <a:schemeClr val="bg1"/>
                </a:solidFill>
                <a:effectLst/>
                <a:latin typeface="+mj-lt"/>
                <a:ea typeface="Aptos" panose="020B0004020202020204" pitchFamily="34" charset="0"/>
              </a:rPr>
              <a:t> +7 983 210-91-04 </a:t>
            </a:r>
            <a:r>
              <a:rPr lang="en-US" sz="2400" b="1" u="sng" dirty="0">
                <a:solidFill>
                  <a:schemeClr val="bg1"/>
                </a:solidFill>
                <a:latin typeface="+mj-lt"/>
                <a:ea typeface="Aptos" panose="020B0004020202020204" pitchFamily="34" charset="0"/>
              </a:rPr>
              <a:t>S</a:t>
            </a:r>
            <a:r>
              <a:rPr lang="en-US" sz="2400" b="1" u="sng" dirty="0">
                <a:solidFill>
                  <a:schemeClr val="bg1"/>
                </a:solidFill>
                <a:effectLst/>
                <a:latin typeface="+mj-lt"/>
                <a:ea typeface="Aptos" panose="020B0004020202020204" pitchFamily="34" charset="0"/>
              </a:rPr>
              <a:t>ergey.bezvolenko@syngenta.com</a:t>
            </a:r>
            <a:endParaRPr lang="ru-RU" sz="2400" b="1" dirty="0">
              <a:solidFill>
                <a:schemeClr val="bg1"/>
              </a:solidFill>
            </a:endParaRPr>
          </a:p>
        </p:txBody>
      </p:sp>
      <p:pic>
        <p:nvPicPr>
          <p:cNvPr id="32" name="Рисунок 31" descr="Телефон со сплошной заливкой">
            <a:extLst>
              <a:ext uri="{FF2B5EF4-FFF2-40B4-BE49-F238E27FC236}">
                <a16:creationId xmlns:a16="http://schemas.microsoft.com/office/drawing/2014/main" id="{5B8C1A8A-3DBF-8BDC-F77F-A9774F72EFC3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07246" y="4005512"/>
            <a:ext cx="526572" cy="526572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0EA7DABD-9792-2DC0-7F6A-096F7E0EC4F8}"/>
              </a:ext>
            </a:extLst>
          </p:cNvPr>
          <p:cNvSpPr txBox="1"/>
          <p:nvPr/>
        </p:nvSpPr>
        <p:spPr>
          <a:xfrm>
            <a:off x="6766940" y="5191425"/>
            <a:ext cx="47667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chemeClr val="bg1"/>
                </a:solidFill>
              </a:rPr>
              <a:t>Лукьянов Вадим  </a:t>
            </a:r>
          </a:p>
          <a:p>
            <a:r>
              <a:rPr lang="ru-RU" sz="2400" b="1" dirty="0">
                <a:solidFill>
                  <a:schemeClr val="bg1"/>
                </a:solidFill>
              </a:rPr>
              <a:t>       </a:t>
            </a:r>
            <a:r>
              <a:rPr lang="ru-RU" sz="2400" b="1" dirty="0">
                <a:solidFill>
                  <a:schemeClr val="bg1"/>
                </a:solidFill>
                <a:effectLst/>
                <a:latin typeface="+mj-lt"/>
                <a:ea typeface="Aptos" panose="020B0004020202020204" pitchFamily="34" charset="0"/>
              </a:rPr>
              <a:t> + 7 913 670-11-40</a:t>
            </a:r>
          </a:p>
          <a:p>
            <a:r>
              <a:rPr lang="en-US" sz="2400" b="1" u="sng" dirty="0">
                <a:solidFill>
                  <a:schemeClr val="bg1"/>
                </a:solidFill>
                <a:latin typeface="+mj-lt"/>
                <a:ea typeface="Aptos" panose="020B0004020202020204" pitchFamily="34" charset="0"/>
              </a:rPr>
              <a:t>V</a:t>
            </a:r>
            <a:r>
              <a:rPr lang="en-US" sz="2400" b="1" u="sng" dirty="0">
                <a:solidFill>
                  <a:schemeClr val="bg1"/>
                </a:solidFill>
                <a:effectLst/>
                <a:latin typeface="+mj-lt"/>
                <a:ea typeface="Aptos" panose="020B0004020202020204" pitchFamily="34" charset="0"/>
              </a:rPr>
              <a:t>adim</a:t>
            </a:r>
            <a:r>
              <a:rPr lang="ru-RU" sz="2400" b="1" u="sng" dirty="0">
                <a:solidFill>
                  <a:schemeClr val="bg1"/>
                </a:solidFill>
                <a:effectLst/>
                <a:latin typeface="+mj-lt"/>
                <a:ea typeface="Aptos" panose="020B0004020202020204" pitchFamily="34" charset="0"/>
              </a:rPr>
              <a:t>.</a:t>
            </a:r>
            <a:r>
              <a:rPr lang="en-US" sz="2400" b="1" u="sng" dirty="0" err="1">
                <a:solidFill>
                  <a:schemeClr val="bg1"/>
                </a:solidFill>
                <a:effectLst/>
                <a:latin typeface="+mj-lt"/>
                <a:ea typeface="Aptos" panose="020B0004020202020204" pitchFamily="34" charset="0"/>
              </a:rPr>
              <a:t>lukyanov</a:t>
            </a:r>
            <a:r>
              <a:rPr lang="ru-RU" sz="2400" b="1" u="sng" dirty="0">
                <a:solidFill>
                  <a:schemeClr val="bg1"/>
                </a:solidFill>
                <a:effectLst/>
                <a:latin typeface="+mj-lt"/>
                <a:ea typeface="Aptos" panose="020B0004020202020204" pitchFamily="34" charset="0"/>
              </a:rPr>
              <a:t>@</a:t>
            </a:r>
            <a:r>
              <a:rPr lang="en-US" sz="2400" b="1" u="sng" dirty="0" err="1">
                <a:solidFill>
                  <a:schemeClr val="bg1"/>
                </a:solidFill>
                <a:effectLst/>
                <a:latin typeface="+mj-lt"/>
                <a:ea typeface="Aptos" panose="020B0004020202020204" pitchFamily="34" charset="0"/>
              </a:rPr>
              <a:t>syngenta</a:t>
            </a:r>
            <a:r>
              <a:rPr lang="ru-RU" sz="2400" b="1" u="sng" dirty="0">
                <a:solidFill>
                  <a:schemeClr val="bg1"/>
                </a:solidFill>
                <a:effectLst/>
                <a:latin typeface="+mj-lt"/>
                <a:ea typeface="Aptos" panose="020B0004020202020204" pitchFamily="34" charset="0"/>
              </a:rPr>
              <a:t>.</a:t>
            </a:r>
            <a:r>
              <a:rPr lang="en-US" sz="2400" b="1" u="sng" dirty="0">
                <a:solidFill>
                  <a:schemeClr val="bg1"/>
                </a:solidFill>
                <a:effectLst/>
                <a:latin typeface="+mj-lt"/>
                <a:ea typeface="Aptos" panose="020B0004020202020204" pitchFamily="34" charset="0"/>
              </a:rPr>
              <a:t>com</a:t>
            </a:r>
            <a:endParaRPr lang="ru-RU" sz="2400" b="1" dirty="0">
              <a:solidFill>
                <a:schemeClr val="bg1"/>
              </a:solidFill>
              <a:effectLst/>
              <a:latin typeface="+mj-lt"/>
              <a:ea typeface="Aptos" panose="020B0004020202020204" pitchFamily="34" charset="0"/>
            </a:endParaRPr>
          </a:p>
          <a:p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DC076880-1870-E625-B1C6-6BF937D2B75A}"/>
              </a:ext>
            </a:extLst>
          </p:cNvPr>
          <p:cNvSpPr txBox="1"/>
          <p:nvPr/>
        </p:nvSpPr>
        <p:spPr>
          <a:xfrm>
            <a:off x="6766940" y="3680342"/>
            <a:ext cx="494280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chemeClr val="bg1"/>
                </a:solidFill>
              </a:rPr>
              <a:t>Гончаренко Анатолий</a:t>
            </a:r>
          </a:p>
          <a:p>
            <a:r>
              <a:rPr lang="ru-RU" sz="2400" b="1" dirty="0">
                <a:solidFill>
                  <a:schemeClr val="bg1"/>
                </a:solidFill>
              </a:rPr>
              <a:t>       </a:t>
            </a:r>
            <a:r>
              <a:rPr lang="ru-RU" sz="2400" b="1" dirty="0">
                <a:solidFill>
                  <a:schemeClr val="bg1"/>
                </a:solidFill>
                <a:effectLst/>
                <a:latin typeface="+mj-lt"/>
                <a:ea typeface="Aptos" panose="020B0004020202020204" pitchFamily="34" charset="0"/>
              </a:rPr>
              <a:t> +7 913 910-01-66 </a:t>
            </a:r>
            <a:r>
              <a:rPr lang="en-US" sz="2400" b="1" u="sng" dirty="0">
                <a:solidFill>
                  <a:schemeClr val="bg1"/>
                </a:solidFill>
                <a:effectLst/>
                <a:latin typeface="+mj-lt"/>
                <a:ea typeface="Aptos" panose="020B0004020202020204" pitchFamily="34" charset="0"/>
              </a:rPr>
              <a:t>Anatoly.Goncharenko@syngenta.com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79EADCC-B50B-FE15-DF97-93ACAC055058}"/>
              </a:ext>
            </a:extLst>
          </p:cNvPr>
          <p:cNvSpPr txBox="1"/>
          <p:nvPr/>
        </p:nvSpPr>
        <p:spPr>
          <a:xfrm>
            <a:off x="449871" y="5191425"/>
            <a:ext cx="476671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chemeClr val="bg1"/>
                </a:solidFill>
              </a:rPr>
              <a:t>Анисимова Юлия</a:t>
            </a:r>
          </a:p>
          <a:p>
            <a:r>
              <a:rPr lang="ru-RU" sz="2400" b="1" dirty="0">
                <a:solidFill>
                  <a:schemeClr val="bg1"/>
                </a:solidFill>
              </a:rPr>
              <a:t>       </a:t>
            </a:r>
            <a:r>
              <a:rPr lang="ru-RU" sz="2400" b="1" dirty="0">
                <a:solidFill>
                  <a:schemeClr val="bg1"/>
                </a:solidFill>
                <a:effectLst/>
                <a:latin typeface="+mj-lt"/>
                <a:ea typeface="Aptos" panose="020B0004020202020204" pitchFamily="34" charset="0"/>
              </a:rPr>
              <a:t> +7 913 300-03-78 </a:t>
            </a:r>
            <a:r>
              <a:rPr lang="en-US" sz="2400" b="1" u="sng" dirty="0">
                <a:solidFill>
                  <a:schemeClr val="bg1"/>
                </a:solidFill>
                <a:effectLst/>
                <a:latin typeface="+mj-lt"/>
                <a:ea typeface="Aptos" panose="020B0004020202020204" pitchFamily="34" charset="0"/>
              </a:rPr>
              <a:t>Julia.Anisimova@syngenta.com</a:t>
            </a:r>
            <a:endParaRPr lang="ru-RU" sz="2400" b="1" dirty="0">
              <a:solidFill>
                <a:schemeClr val="bg1"/>
              </a:solidFill>
            </a:endParaRPr>
          </a:p>
        </p:txBody>
      </p:sp>
      <p:pic>
        <p:nvPicPr>
          <p:cNvPr id="37" name="Рисунок 36" descr="Телефон со сплошной заливкой">
            <a:extLst>
              <a:ext uri="{FF2B5EF4-FFF2-40B4-BE49-F238E27FC236}">
                <a16:creationId xmlns:a16="http://schemas.microsoft.com/office/drawing/2014/main" id="{815ADDF9-1EFB-81C2-EC70-D30404BAAFE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822540" y="4005512"/>
            <a:ext cx="526572" cy="526572"/>
          </a:xfrm>
          <a:prstGeom prst="rect">
            <a:avLst/>
          </a:prstGeom>
        </p:spPr>
      </p:pic>
      <p:pic>
        <p:nvPicPr>
          <p:cNvPr id="38" name="Рисунок 37" descr="Телефон со сплошной заливкой">
            <a:extLst>
              <a:ext uri="{FF2B5EF4-FFF2-40B4-BE49-F238E27FC236}">
                <a16:creationId xmlns:a16="http://schemas.microsoft.com/office/drawing/2014/main" id="{9FADABCB-14D1-36B7-B506-B425B78EA3B8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474214" y="5528303"/>
            <a:ext cx="526572" cy="526572"/>
          </a:xfrm>
          <a:prstGeom prst="rect">
            <a:avLst/>
          </a:prstGeom>
        </p:spPr>
      </p:pic>
      <p:pic>
        <p:nvPicPr>
          <p:cNvPr id="39" name="Рисунок 38" descr="Телефон со сплошной заливкой">
            <a:extLst>
              <a:ext uri="{FF2B5EF4-FFF2-40B4-BE49-F238E27FC236}">
                <a16:creationId xmlns:a16="http://schemas.microsoft.com/office/drawing/2014/main" id="{351110FE-A60C-7C42-6C63-D9A2164432C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839050" y="5547103"/>
            <a:ext cx="526572" cy="526572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783132" y="3350132"/>
            <a:ext cx="7979868" cy="763671"/>
          </a:xfrm>
          <a:prstGeom prst="rect">
            <a:avLst/>
          </a:prstGeom>
        </p:spPr>
        <p:txBody>
          <a:bodyPr vert="horz" wrap="square" lIns="0" tIns="95885" rIns="0" bIns="0" rtlCol="0">
            <a:spAutoFit/>
          </a:bodyPr>
          <a:lstStyle/>
          <a:p>
            <a:pPr marL="12700" marR="5080">
              <a:lnSpc>
                <a:spcPts val="5180"/>
              </a:lnSpc>
              <a:spcBef>
                <a:spcPts val="755"/>
              </a:spcBef>
            </a:pPr>
            <a:r>
              <a:rPr lang="ru-RU" sz="4800" dirty="0">
                <a:latin typeface="Arial" panose="020B0604020202020204" pitchFamily="34" charset="0"/>
                <a:cs typeface="Arial" panose="020B0604020202020204" pitchFamily="34" charset="0"/>
              </a:rPr>
              <a:t>ИНОКУЛЯЦИЯ СОИ</a:t>
            </a:r>
          </a:p>
        </p:txBody>
      </p:sp>
      <p:sp>
        <p:nvSpPr>
          <p:cNvPr id="3" name="object 12">
            <a:extLst>
              <a:ext uri="{FF2B5EF4-FFF2-40B4-BE49-F238E27FC236}">
                <a16:creationId xmlns:a16="http://schemas.microsoft.com/office/drawing/2014/main" id="{7608CDB9-96B4-BDA2-5BA5-1B52432AFEA8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457200" y="6400800"/>
            <a:ext cx="2065020" cy="2520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1864"/>
              </a:lnSpc>
            </a:pPr>
            <a:r>
              <a:rPr spc="-5" dirty="0"/>
              <a:t>Classification:</a:t>
            </a:r>
            <a:r>
              <a:rPr spc="-60" dirty="0"/>
              <a:t> </a:t>
            </a:r>
            <a:r>
              <a:rPr spc="-5" dirty="0"/>
              <a:t>PUBLIC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E100A1-9CF9-11B1-8CC2-3990E86A9C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12">
            <a:extLst>
              <a:ext uri="{FF2B5EF4-FFF2-40B4-BE49-F238E27FC236}">
                <a16:creationId xmlns:a16="http://schemas.microsoft.com/office/drawing/2014/main" id="{15FE5C79-2C0B-0A94-A7C1-F42EA76AEB48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457200" y="6400800"/>
            <a:ext cx="2065020" cy="2520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ts val="186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lassification:</a:t>
            </a:r>
            <a:r>
              <a:rPr kumimoji="0" sz="1000" b="0" i="0" u="none" strike="noStrike" kern="1200" cap="none" spc="-6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UBLIC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2214120-A9EA-2C01-647C-DD3BA25E1DA4}"/>
              </a:ext>
            </a:extLst>
          </p:cNvPr>
          <p:cNvSpPr txBox="1"/>
          <p:nvPr/>
        </p:nvSpPr>
        <p:spPr>
          <a:xfrm>
            <a:off x="2362200" y="381000"/>
            <a:ext cx="92202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правления выращивания сои в Сибири</a:t>
            </a:r>
          </a:p>
        </p:txBody>
      </p:sp>
      <p:sp>
        <p:nvSpPr>
          <p:cNvPr id="11" name="object 6">
            <a:extLst>
              <a:ext uri="{FF2B5EF4-FFF2-40B4-BE49-F238E27FC236}">
                <a16:creationId xmlns:a16="http://schemas.microsoft.com/office/drawing/2014/main" id="{1ECEFBF2-4AD1-7547-F959-FB0B15360B44}"/>
              </a:ext>
            </a:extLst>
          </p:cNvPr>
          <p:cNvSpPr txBox="1"/>
          <p:nvPr/>
        </p:nvSpPr>
        <p:spPr>
          <a:xfrm>
            <a:off x="2222500" y="4516582"/>
            <a:ext cx="4331048" cy="6033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ts val="2280"/>
              </a:lnSpc>
              <a:spcBef>
                <a:spcPts val="105"/>
              </a:spcBef>
            </a:pPr>
            <a:r>
              <a:rPr sz="2000" b="1" spc="-10" dirty="0" err="1">
                <a:solidFill>
                  <a:schemeClr val="bg1"/>
                </a:solidFill>
                <a:latin typeface="Arial"/>
                <a:cs typeface="Arial"/>
              </a:rPr>
              <a:t>Производство</a:t>
            </a:r>
            <a:r>
              <a:rPr lang="ru-RU" sz="2000" b="1" spc="-10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2000" b="1" spc="-5" dirty="0" err="1">
                <a:solidFill>
                  <a:schemeClr val="bg1"/>
                </a:solidFill>
                <a:latin typeface="Arial"/>
                <a:cs typeface="Arial"/>
              </a:rPr>
              <a:t>семенного</a:t>
            </a:r>
            <a:r>
              <a:rPr lang="ru-RU" sz="2000" b="1" spc="-5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2000" b="1" spc="-10" dirty="0" err="1">
                <a:solidFill>
                  <a:schemeClr val="bg1"/>
                </a:solidFill>
                <a:latin typeface="Arial"/>
                <a:cs typeface="Arial"/>
              </a:rPr>
              <a:t>материала</a:t>
            </a:r>
            <a:r>
              <a:rPr lang="ru-RU" sz="2000" b="1" spc="-10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ru-RU" sz="2000" spc="-5" dirty="0">
                <a:solidFill>
                  <a:schemeClr val="bg1"/>
                </a:solidFill>
                <a:latin typeface="Arial"/>
                <a:cs typeface="Arial"/>
              </a:rPr>
              <a:t>для</a:t>
            </a:r>
            <a:r>
              <a:rPr lang="ru-RU" sz="2000" spc="-80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ru-RU" sz="2000" dirty="0">
                <a:solidFill>
                  <a:schemeClr val="bg1"/>
                </a:solidFill>
                <a:latin typeface="Arial"/>
                <a:cs typeface="Arial"/>
              </a:rPr>
              <a:t>р</a:t>
            </a:r>
            <a:r>
              <a:rPr sz="2000" dirty="0" err="1">
                <a:solidFill>
                  <a:schemeClr val="bg1"/>
                </a:solidFill>
                <a:latin typeface="Arial"/>
                <a:cs typeface="Arial"/>
              </a:rPr>
              <a:t>еализации</a:t>
            </a:r>
            <a:endParaRPr sz="2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5" name="object 14">
            <a:extLst>
              <a:ext uri="{FF2B5EF4-FFF2-40B4-BE49-F238E27FC236}">
                <a16:creationId xmlns:a16="http://schemas.microsoft.com/office/drawing/2014/main" id="{BB7DCBB0-B2A4-7FCC-FAE0-D4DEAE207E96}"/>
              </a:ext>
            </a:extLst>
          </p:cNvPr>
          <p:cNvSpPr txBox="1"/>
          <p:nvPr/>
        </p:nvSpPr>
        <p:spPr>
          <a:xfrm>
            <a:off x="2222500" y="3270449"/>
            <a:ext cx="4131153" cy="64184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2000" b="1" spc="-25" dirty="0" err="1">
                <a:solidFill>
                  <a:schemeClr val="bg1"/>
                </a:solidFill>
                <a:latin typeface="Arial"/>
                <a:cs typeface="Arial"/>
              </a:rPr>
              <a:t>Товарная</a:t>
            </a:r>
            <a:r>
              <a:rPr sz="2000" b="1" spc="-65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2000" b="1" spc="-10" dirty="0" err="1">
                <a:solidFill>
                  <a:schemeClr val="bg1"/>
                </a:solidFill>
                <a:latin typeface="Arial"/>
                <a:cs typeface="Arial"/>
              </a:rPr>
              <a:t>продукция</a:t>
            </a:r>
            <a:r>
              <a:rPr lang="ru-RU" sz="2000" b="1" spc="-10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</a:p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2000" dirty="0">
                <a:solidFill>
                  <a:schemeClr val="bg1"/>
                </a:solidFill>
                <a:latin typeface="Arial"/>
                <a:cs typeface="Arial"/>
              </a:rPr>
              <a:t>(экспорт в т.ч.)</a:t>
            </a:r>
            <a:endParaRPr sz="2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9" name="object 18">
            <a:extLst>
              <a:ext uri="{FF2B5EF4-FFF2-40B4-BE49-F238E27FC236}">
                <a16:creationId xmlns:a16="http://schemas.microsoft.com/office/drawing/2014/main" id="{E3B7189E-AF9B-6FD4-78B4-08BBBDB1EBA5}"/>
              </a:ext>
            </a:extLst>
          </p:cNvPr>
          <p:cNvSpPr txBox="1"/>
          <p:nvPr/>
        </p:nvSpPr>
        <p:spPr>
          <a:xfrm>
            <a:off x="2222500" y="1909909"/>
            <a:ext cx="4864100" cy="9367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5"/>
              </a:spcBef>
            </a:pPr>
            <a:r>
              <a:rPr sz="2000" b="1" spc="-5" dirty="0">
                <a:solidFill>
                  <a:schemeClr val="bg1"/>
                </a:solidFill>
                <a:latin typeface="Arial"/>
                <a:cs typeface="Arial"/>
              </a:rPr>
              <a:t>Кормовая</a:t>
            </a:r>
            <a:r>
              <a:rPr sz="2000" b="1" spc="-65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2000" b="1" spc="-10" dirty="0">
                <a:solidFill>
                  <a:schemeClr val="bg1"/>
                </a:solidFill>
                <a:latin typeface="Arial"/>
                <a:cs typeface="Arial"/>
              </a:rPr>
              <a:t>продукция </a:t>
            </a:r>
            <a:r>
              <a:rPr sz="2000" b="1" spc="-545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2000" b="1" spc="-5" dirty="0">
                <a:solidFill>
                  <a:schemeClr val="bg1"/>
                </a:solidFill>
                <a:latin typeface="Arial"/>
                <a:cs typeface="Arial"/>
              </a:rPr>
              <a:t>для </a:t>
            </a:r>
            <a:r>
              <a:rPr sz="2000" b="1" spc="-15" dirty="0">
                <a:solidFill>
                  <a:schemeClr val="bg1"/>
                </a:solidFill>
                <a:latin typeface="Arial"/>
                <a:cs typeface="Arial"/>
              </a:rPr>
              <a:t>животноводства </a:t>
            </a:r>
            <a:r>
              <a:rPr sz="2000" b="1" spc="-545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chemeClr val="bg1"/>
                </a:solidFill>
                <a:latin typeface="Arial"/>
                <a:cs typeface="Arial"/>
              </a:rPr>
              <a:t>(</a:t>
            </a:r>
            <a:r>
              <a:rPr sz="2000" spc="-10" dirty="0" err="1">
                <a:solidFill>
                  <a:schemeClr val="bg1"/>
                </a:solidFill>
                <a:latin typeface="Arial"/>
                <a:cs typeface="Arial"/>
              </a:rPr>
              <a:t>производство</a:t>
            </a:r>
            <a:r>
              <a:rPr lang="ru-RU" sz="2000" spc="-10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2000" dirty="0" err="1">
                <a:solidFill>
                  <a:schemeClr val="bg1"/>
                </a:solidFill>
                <a:latin typeface="Arial"/>
                <a:cs typeface="Arial"/>
              </a:rPr>
              <a:t>комбикормов</a:t>
            </a:r>
            <a:r>
              <a:rPr lang="ru-RU" sz="2000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chemeClr val="bg1"/>
                </a:solidFill>
                <a:latin typeface="Arial"/>
                <a:cs typeface="Arial"/>
              </a:rPr>
              <a:t>и</a:t>
            </a:r>
            <a:r>
              <a:rPr sz="2000" spc="-30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chemeClr val="bg1"/>
                </a:solidFill>
                <a:latin typeface="Arial"/>
                <a:cs typeface="Arial"/>
              </a:rPr>
              <a:t>соевого</a:t>
            </a:r>
            <a:r>
              <a:rPr sz="2000" spc="-60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chemeClr val="bg1"/>
                </a:solidFill>
                <a:latin typeface="Arial"/>
                <a:cs typeface="Arial"/>
              </a:rPr>
              <a:t>молока)</a:t>
            </a:r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CF27A225-4062-5EF2-EE5F-C317F8375DB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976" r="76"/>
          <a:stretch/>
        </p:blipFill>
        <p:spPr>
          <a:xfrm>
            <a:off x="431148" y="1666482"/>
            <a:ext cx="1685134" cy="383985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sp>
        <p:nvSpPr>
          <p:cNvPr id="21" name="object 10">
            <a:extLst>
              <a:ext uri="{FF2B5EF4-FFF2-40B4-BE49-F238E27FC236}">
                <a16:creationId xmlns:a16="http://schemas.microsoft.com/office/drawing/2014/main" id="{354F4CE6-7BAB-6C9E-3B09-FD10C65F66CD}"/>
              </a:ext>
            </a:extLst>
          </p:cNvPr>
          <p:cNvSpPr txBox="1"/>
          <p:nvPr/>
        </p:nvSpPr>
        <p:spPr>
          <a:xfrm>
            <a:off x="609600" y="1109524"/>
            <a:ext cx="2971800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800" b="1" spc="-5" dirty="0">
                <a:solidFill>
                  <a:srgbClr val="FFFFFF"/>
                </a:solidFill>
                <a:latin typeface="Arial"/>
                <a:cs typeface="Arial"/>
              </a:rPr>
              <a:t>Соевые</a:t>
            </a:r>
            <a:r>
              <a:rPr sz="2800" b="1" spc="-7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800" b="1" dirty="0">
                <a:solidFill>
                  <a:srgbClr val="FFFFFF"/>
                </a:solidFill>
                <a:latin typeface="Arial"/>
                <a:cs typeface="Arial"/>
              </a:rPr>
              <a:t>бобы</a:t>
            </a:r>
            <a:endParaRPr sz="2800" dirty="0">
              <a:latin typeface="Arial"/>
              <a:cs typeface="Arial"/>
            </a:endParaRPr>
          </a:p>
        </p:txBody>
      </p:sp>
      <p:sp>
        <p:nvSpPr>
          <p:cNvPr id="22" name="object 10">
            <a:extLst>
              <a:ext uri="{FF2B5EF4-FFF2-40B4-BE49-F238E27FC236}">
                <a16:creationId xmlns:a16="http://schemas.microsoft.com/office/drawing/2014/main" id="{704EB87C-6914-5AD2-39AF-58AA841435B9}"/>
              </a:ext>
            </a:extLst>
          </p:cNvPr>
          <p:cNvSpPr txBox="1"/>
          <p:nvPr/>
        </p:nvSpPr>
        <p:spPr>
          <a:xfrm>
            <a:off x="838200" y="1666482"/>
            <a:ext cx="1219200" cy="124393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8000" b="1" spc="-5" dirty="0">
                <a:solidFill>
                  <a:srgbClr val="FFFFFF"/>
                </a:solidFill>
                <a:latin typeface="Arial"/>
                <a:cs typeface="Arial"/>
              </a:rPr>
              <a:t>1</a:t>
            </a:r>
            <a:endParaRPr sz="8000" dirty="0">
              <a:latin typeface="Arial"/>
              <a:cs typeface="Arial"/>
            </a:endParaRPr>
          </a:p>
        </p:txBody>
      </p:sp>
      <p:sp>
        <p:nvSpPr>
          <p:cNvPr id="23" name="object 10">
            <a:extLst>
              <a:ext uri="{FF2B5EF4-FFF2-40B4-BE49-F238E27FC236}">
                <a16:creationId xmlns:a16="http://schemas.microsoft.com/office/drawing/2014/main" id="{793C4F48-0DDB-F3A4-5CBF-F4DA2348AC32}"/>
              </a:ext>
            </a:extLst>
          </p:cNvPr>
          <p:cNvSpPr txBox="1"/>
          <p:nvPr/>
        </p:nvSpPr>
        <p:spPr>
          <a:xfrm>
            <a:off x="838200" y="2933982"/>
            <a:ext cx="1219200" cy="124393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8000" b="1" spc="-5" dirty="0">
                <a:solidFill>
                  <a:srgbClr val="FFFFFF"/>
                </a:solidFill>
                <a:latin typeface="Arial"/>
                <a:cs typeface="Arial"/>
              </a:rPr>
              <a:t>2</a:t>
            </a:r>
            <a:endParaRPr sz="8000" dirty="0">
              <a:latin typeface="Arial"/>
              <a:cs typeface="Arial"/>
            </a:endParaRPr>
          </a:p>
        </p:txBody>
      </p:sp>
      <p:sp>
        <p:nvSpPr>
          <p:cNvPr id="24" name="object 10">
            <a:extLst>
              <a:ext uri="{FF2B5EF4-FFF2-40B4-BE49-F238E27FC236}">
                <a16:creationId xmlns:a16="http://schemas.microsoft.com/office/drawing/2014/main" id="{0CD873C0-C9D0-0332-3CE6-C5035A578863}"/>
              </a:ext>
            </a:extLst>
          </p:cNvPr>
          <p:cNvSpPr txBox="1"/>
          <p:nvPr/>
        </p:nvSpPr>
        <p:spPr>
          <a:xfrm>
            <a:off x="838200" y="4201481"/>
            <a:ext cx="1219200" cy="124393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8000" b="1" spc="-5" dirty="0">
                <a:solidFill>
                  <a:srgbClr val="FFFFFF"/>
                </a:solidFill>
                <a:latin typeface="Arial"/>
                <a:cs typeface="Arial"/>
              </a:rPr>
              <a:t>3</a:t>
            </a:r>
            <a:endParaRPr sz="8000" dirty="0">
              <a:latin typeface="Arial"/>
              <a:cs typeface="Arial"/>
            </a:endParaRPr>
          </a:p>
        </p:txBody>
      </p:sp>
      <p:grpSp>
        <p:nvGrpSpPr>
          <p:cNvPr id="2" name="object 6">
            <a:extLst>
              <a:ext uri="{FF2B5EF4-FFF2-40B4-BE49-F238E27FC236}">
                <a16:creationId xmlns:a16="http://schemas.microsoft.com/office/drawing/2014/main" id="{F9907334-6C29-57AB-3E81-567F37FFBCA1}"/>
              </a:ext>
            </a:extLst>
          </p:cNvPr>
          <p:cNvGrpSpPr/>
          <p:nvPr/>
        </p:nvGrpSpPr>
        <p:grpSpPr>
          <a:xfrm>
            <a:off x="6353653" y="1267885"/>
            <a:ext cx="5304947" cy="4826349"/>
            <a:chOff x="4289425" y="1822450"/>
            <a:chExt cx="3613150" cy="4175760"/>
          </a:xfrm>
        </p:grpSpPr>
        <p:pic>
          <p:nvPicPr>
            <p:cNvPr id="3" name="object 7">
              <a:extLst>
                <a:ext uri="{FF2B5EF4-FFF2-40B4-BE49-F238E27FC236}">
                  <a16:creationId xmlns:a16="http://schemas.microsoft.com/office/drawing/2014/main" id="{EA659826-3B54-231A-4DE4-C4FD760D1508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4289425" y="1822450"/>
              <a:ext cx="3613150" cy="4175391"/>
            </a:xfrm>
            <a:prstGeom prst="rect">
              <a:avLst/>
            </a:prstGeom>
          </p:spPr>
        </p:pic>
        <p:pic>
          <p:nvPicPr>
            <p:cNvPr id="6" name="object 8">
              <a:extLst>
                <a:ext uri="{FF2B5EF4-FFF2-40B4-BE49-F238E27FC236}">
                  <a16:creationId xmlns:a16="http://schemas.microsoft.com/office/drawing/2014/main" id="{6DA22D2F-63F9-3CEC-162A-92A15081B65D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363406" y="2070167"/>
              <a:ext cx="467435" cy="556007"/>
            </a:xfrm>
            <a:prstGeom prst="rect">
              <a:avLst/>
            </a:prstGeom>
          </p:spPr>
        </p:pic>
      </p:grpSp>
      <p:sp>
        <p:nvSpPr>
          <p:cNvPr id="8" name="object 17">
            <a:extLst>
              <a:ext uri="{FF2B5EF4-FFF2-40B4-BE49-F238E27FC236}">
                <a16:creationId xmlns:a16="http://schemas.microsoft.com/office/drawing/2014/main" id="{F68D45D2-1231-E5A6-3888-C43ED4BF062D}"/>
              </a:ext>
            </a:extLst>
          </p:cNvPr>
          <p:cNvSpPr txBox="1"/>
          <p:nvPr/>
        </p:nvSpPr>
        <p:spPr>
          <a:xfrm>
            <a:off x="8764216" y="1607905"/>
            <a:ext cx="1922133" cy="5668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1" kern="0" spc="-25" dirty="0">
                <a:solidFill>
                  <a:srgbClr val="AAB4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казатели качества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F5062DFF-DBC7-B1DA-E6D7-D37C5B9499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7557685"/>
              </p:ext>
            </p:extLst>
          </p:nvPr>
        </p:nvGraphicFramePr>
        <p:xfrm>
          <a:off x="6763706" y="2122570"/>
          <a:ext cx="4724399" cy="382099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124200">
                  <a:extLst>
                    <a:ext uri="{9D8B030D-6E8A-4147-A177-3AD203B41FA5}">
                      <a16:colId xmlns:a16="http://schemas.microsoft.com/office/drawing/2014/main" val="1807241756"/>
                    </a:ext>
                  </a:extLst>
                </a:gridCol>
                <a:gridCol w="1600199">
                  <a:extLst>
                    <a:ext uri="{9D8B030D-6E8A-4147-A177-3AD203B41FA5}">
                      <a16:colId xmlns:a16="http://schemas.microsoft.com/office/drawing/2014/main" val="1874171854"/>
                    </a:ext>
                  </a:extLst>
                </a:gridCol>
              </a:tblGrid>
              <a:tr h="664098">
                <a:tc>
                  <a:txBody>
                    <a:bodyPr/>
                    <a:lstStyle/>
                    <a:p>
                      <a:pPr algn="ctr"/>
                      <a:r>
                        <a:rPr lang="ru-RU" sz="2400" b="1" dirty="0">
                          <a:solidFill>
                            <a:schemeClr val="bg1"/>
                          </a:solidFill>
                        </a:rPr>
                        <a:t>Белок (протеин), %</a:t>
                      </a:r>
                    </a:p>
                  </a:txBody>
                  <a:tcPr marL="91416" marR="91416" marT="45708" marB="45708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b="1" dirty="0">
                          <a:solidFill>
                            <a:schemeClr val="bg1"/>
                          </a:solidFill>
                        </a:rPr>
                        <a:t>38-42</a:t>
                      </a:r>
                    </a:p>
                  </a:txBody>
                  <a:tcPr marL="91416" marR="91416" marT="45708" marB="4570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15562058"/>
                  </a:ext>
                </a:extLst>
              </a:tr>
              <a:tr h="400518">
                <a:tc>
                  <a:txBody>
                    <a:bodyPr/>
                    <a:lstStyle/>
                    <a:p>
                      <a:pPr algn="ctr"/>
                      <a:endParaRPr lang="ru-RU" sz="2400" b="1" dirty="0">
                        <a:solidFill>
                          <a:schemeClr val="bg1"/>
                        </a:solidFill>
                      </a:endParaRPr>
                    </a:p>
                  </a:txBody>
                  <a:tcPr marL="91416" marR="91416" marT="45708" marB="45708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400" b="1" dirty="0">
                        <a:solidFill>
                          <a:schemeClr val="bg1"/>
                        </a:solidFill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33954336"/>
                  </a:ext>
                </a:extLst>
              </a:tr>
              <a:tr h="664098">
                <a:tc>
                  <a:txBody>
                    <a:bodyPr/>
                    <a:lstStyle/>
                    <a:p>
                      <a:pPr algn="ctr"/>
                      <a:r>
                        <a:rPr lang="ru-RU" sz="2400" b="1" dirty="0">
                          <a:solidFill>
                            <a:schemeClr val="bg1"/>
                          </a:solidFill>
                        </a:rPr>
                        <a:t>Масло (жир), %</a:t>
                      </a:r>
                    </a:p>
                  </a:txBody>
                  <a:tcPr marL="91416" marR="91416" marT="45708" marB="45708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b="1" dirty="0">
                          <a:solidFill>
                            <a:schemeClr val="bg1"/>
                          </a:solidFill>
                        </a:rPr>
                        <a:t>19-22</a:t>
                      </a:r>
                    </a:p>
                  </a:txBody>
                  <a:tcPr marL="91416" marR="91416" marT="45708" marB="4570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2459348"/>
                  </a:ext>
                </a:extLst>
              </a:tr>
              <a:tr h="400518">
                <a:tc>
                  <a:txBody>
                    <a:bodyPr/>
                    <a:lstStyle/>
                    <a:p>
                      <a:pPr algn="ctr"/>
                      <a:endParaRPr lang="ru-RU" sz="2400" b="1" dirty="0">
                        <a:solidFill>
                          <a:schemeClr val="bg1"/>
                        </a:solidFill>
                      </a:endParaRPr>
                    </a:p>
                  </a:txBody>
                  <a:tcPr marL="91416" marR="91416" marT="45708" marB="45708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400" b="1" dirty="0">
                        <a:solidFill>
                          <a:schemeClr val="bg1"/>
                        </a:solidFill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13400114"/>
                  </a:ext>
                </a:extLst>
              </a:tr>
              <a:tr h="664098">
                <a:tc>
                  <a:txBody>
                    <a:bodyPr/>
                    <a:lstStyle/>
                    <a:p>
                      <a:pPr algn="ctr"/>
                      <a:r>
                        <a:rPr lang="ru-RU" sz="2400" b="1" dirty="0">
                          <a:solidFill>
                            <a:schemeClr val="bg1"/>
                          </a:solidFill>
                        </a:rPr>
                        <a:t>Влажность, %</a:t>
                      </a:r>
                    </a:p>
                  </a:txBody>
                  <a:tcPr marL="91416" marR="91416" marT="45708" marB="45708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b="1" dirty="0">
                          <a:solidFill>
                            <a:schemeClr val="bg1"/>
                          </a:solidFill>
                        </a:rPr>
                        <a:t>12-14</a:t>
                      </a:r>
                    </a:p>
                  </a:txBody>
                  <a:tcPr marL="91416" marR="91416" marT="45708" marB="4570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86568800"/>
                  </a:ext>
                </a:extLst>
              </a:tr>
              <a:tr h="400518">
                <a:tc>
                  <a:txBody>
                    <a:bodyPr/>
                    <a:lstStyle/>
                    <a:p>
                      <a:pPr algn="ctr"/>
                      <a:endParaRPr lang="ru-RU" sz="2400" b="1">
                        <a:solidFill>
                          <a:schemeClr val="bg1"/>
                        </a:solidFill>
                      </a:endParaRPr>
                    </a:p>
                  </a:txBody>
                  <a:tcPr marL="91416" marR="91416" marT="45708" marB="45708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400" b="1" dirty="0">
                        <a:solidFill>
                          <a:schemeClr val="bg1"/>
                        </a:solidFill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22598312"/>
                  </a:ext>
                </a:extLst>
              </a:tr>
              <a:tr h="400518">
                <a:tc>
                  <a:txBody>
                    <a:bodyPr/>
                    <a:lstStyle/>
                    <a:p>
                      <a:pPr algn="ctr"/>
                      <a:r>
                        <a:rPr lang="ru-RU" sz="2400" b="1" dirty="0">
                          <a:solidFill>
                            <a:schemeClr val="bg1"/>
                          </a:solidFill>
                        </a:rPr>
                        <a:t>Сорность, %</a:t>
                      </a:r>
                    </a:p>
                  </a:txBody>
                  <a:tcPr marL="91416" marR="91416" marT="45708" marB="45708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b="1" dirty="0">
                          <a:solidFill>
                            <a:schemeClr val="bg1"/>
                          </a:solidFill>
                        </a:rPr>
                        <a:t>2-3</a:t>
                      </a:r>
                    </a:p>
                  </a:txBody>
                  <a:tcPr marL="91416" marR="91416" marT="45708" marB="4570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83082531"/>
                  </a:ext>
                </a:extLst>
              </a:tr>
            </a:tbl>
          </a:graphicData>
        </a:graphic>
      </p:graphicFrame>
      <p:sp>
        <p:nvSpPr>
          <p:cNvPr id="10" name="object 22">
            <a:extLst>
              <a:ext uri="{FF2B5EF4-FFF2-40B4-BE49-F238E27FC236}">
                <a16:creationId xmlns:a16="http://schemas.microsoft.com/office/drawing/2014/main" id="{FEFB5B7D-FF89-AEEF-4DC0-BB123DCAA09A}"/>
              </a:ext>
            </a:extLst>
          </p:cNvPr>
          <p:cNvSpPr/>
          <p:nvPr/>
        </p:nvSpPr>
        <p:spPr>
          <a:xfrm>
            <a:off x="6593211" y="2174727"/>
            <a:ext cx="4852355" cy="757555"/>
          </a:xfrm>
          <a:custGeom>
            <a:avLst/>
            <a:gdLst/>
            <a:ahLst/>
            <a:cxnLst/>
            <a:rect l="l" t="t" r="r" b="b"/>
            <a:pathLst>
              <a:path w="3333750" h="757554">
                <a:moveTo>
                  <a:pt x="0" y="126111"/>
                </a:moveTo>
                <a:lnTo>
                  <a:pt x="9919" y="76991"/>
                </a:lnTo>
                <a:lnTo>
                  <a:pt x="36972" y="36909"/>
                </a:lnTo>
                <a:lnTo>
                  <a:pt x="77098" y="9900"/>
                </a:lnTo>
                <a:lnTo>
                  <a:pt x="126237" y="0"/>
                </a:lnTo>
                <a:lnTo>
                  <a:pt x="3207511" y="0"/>
                </a:lnTo>
                <a:lnTo>
                  <a:pt x="3256651" y="9900"/>
                </a:lnTo>
                <a:lnTo>
                  <a:pt x="3296777" y="36909"/>
                </a:lnTo>
                <a:lnTo>
                  <a:pt x="3323830" y="76991"/>
                </a:lnTo>
                <a:lnTo>
                  <a:pt x="3333750" y="126111"/>
                </a:lnTo>
                <a:lnTo>
                  <a:pt x="3333750" y="630936"/>
                </a:lnTo>
                <a:lnTo>
                  <a:pt x="3323830" y="680075"/>
                </a:lnTo>
                <a:lnTo>
                  <a:pt x="3296777" y="720201"/>
                </a:lnTo>
                <a:lnTo>
                  <a:pt x="3256651" y="747254"/>
                </a:lnTo>
                <a:lnTo>
                  <a:pt x="3207511" y="757174"/>
                </a:lnTo>
                <a:lnTo>
                  <a:pt x="126237" y="757174"/>
                </a:lnTo>
                <a:lnTo>
                  <a:pt x="77098" y="747254"/>
                </a:lnTo>
                <a:lnTo>
                  <a:pt x="36972" y="720201"/>
                </a:lnTo>
                <a:lnTo>
                  <a:pt x="9919" y="680075"/>
                </a:lnTo>
                <a:lnTo>
                  <a:pt x="0" y="630936"/>
                </a:lnTo>
                <a:lnTo>
                  <a:pt x="0" y="126111"/>
                </a:lnTo>
                <a:close/>
              </a:path>
            </a:pathLst>
          </a:custGeom>
          <a:ln w="12700">
            <a:solidFill>
              <a:srgbClr val="82C7DC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object 22">
            <a:extLst>
              <a:ext uri="{FF2B5EF4-FFF2-40B4-BE49-F238E27FC236}">
                <a16:creationId xmlns:a16="http://schemas.microsoft.com/office/drawing/2014/main" id="{966AA925-387D-BF7D-915A-1131ADEF5353}"/>
              </a:ext>
            </a:extLst>
          </p:cNvPr>
          <p:cNvSpPr/>
          <p:nvPr/>
        </p:nvSpPr>
        <p:spPr>
          <a:xfrm>
            <a:off x="6593211" y="3177169"/>
            <a:ext cx="4852355" cy="757555"/>
          </a:xfrm>
          <a:custGeom>
            <a:avLst/>
            <a:gdLst/>
            <a:ahLst/>
            <a:cxnLst/>
            <a:rect l="l" t="t" r="r" b="b"/>
            <a:pathLst>
              <a:path w="3333750" h="757554">
                <a:moveTo>
                  <a:pt x="0" y="126111"/>
                </a:moveTo>
                <a:lnTo>
                  <a:pt x="9919" y="76991"/>
                </a:lnTo>
                <a:lnTo>
                  <a:pt x="36972" y="36909"/>
                </a:lnTo>
                <a:lnTo>
                  <a:pt x="77098" y="9900"/>
                </a:lnTo>
                <a:lnTo>
                  <a:pt x="126237" y="0"/>
                </a:lnTo>
                <a:lnTo>
                  <a:pt x="3207511" y="0"/>
                </a:lnTo>
                <a:lnTo>
                  <a:pt x="3256651" y="9900"/>
                </a:lnTo>
                <a:lnTo>
                  <a:pt x="3296777" y="36909"/>
                </a:lnTo>
                <a:lnTo>
                  <a:pt x="3323830" y="76991"/>
                </a:lnTo>
                <a:lnTo>
                  <a:pt x="3333750" y="126111"/>
                </a:lnTo>
                <a:lnTo>
                  <a:pt x="3333750" y="630936"/>
                </a:lnTo>
                <a:lnTo>
                  <a:pt x="3323830" y="680075"/>
                </a:lnTo>
                <a:lnTo>
                  <a:pt x="3296777" y="720201"/>
                </a:lnTo>
                <a:lnTo>
                  <a:pt x="3256651" y="747254"/>
                </a:lnTo>
                <a:lnTo>
                  <a:pt x="3207511" y="757174"/>
                </a:lnTo>
                <a:lnTo>
                  <a:pt x="126237" y="757174"/>
                </a:lnTo>
                <a:lnTo>
                  <a:pt x="77098" y="747254"/>
                </a:lnTo>
                <a:lnTo>
                  <a:pt x="36972" y="720201"/>
                </a:lnTo>
                <a:lnTo>
                  <a:pt x="9919" y="680075"/>
                </a:lnTo>
                <a:lnTo>
                  <a:pt x="0" y="630936"/>
                </a:lnTo>
                <a:lnTo>
                  <a:pt x="0" y="126111"/>
                </a:lnTo>
                <a:close/>
              </a:path>
            </a:pathLst>
          </a:custGeom>
          <a:ln w="12700">
            <a:solidFill>
              <a:srgbClr val="82C7DC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3" name="object 22">
            <a:extLst>
              <a:ext uri="{FF2B5EF4-FFF2-40B4-BE49-F238E27FC236}">
                <a16:creationId xmlns:a16="http://schemas.microsoft.com/office/drawing/2014/main" id="{99DE5C2E-C1E9-6810-32D8-A9B8C5376A17}"/>
              </a:ext>
            </a:extLst>
          </p:cNvPr>
          <p:cNvSpPr/>
          <p:nvPr/>
        </p:nvSpPr>
        <p:spPr>
          <a:xfrm>
            <a:off x="6593211" y="4306235"/>
            <a:ext cx="4852355" cy="757555"/>
          </a:xfrm>
          <a:custGeom>
            <a:avLst/>
            <a:gdLst/>
            <a:ahLst/>
            <a:cxnLst/>
            <a:rect l="l" t="t" r="r" b="b"/>
            <a:pathLst>
              <a:path w="3333750" h="757554">
                <a:moveTo>
                  <a:pt x="0" y="126111"/>
                </a:moveTo>
                <a:lnTo>
                  <a:pt x="9919" y="76991"/>
                </a:lnTo>
                <a:lnTo>
                  <a:pt x="36972" y="36909"/>
                </a:lnTo>
                <a:lnTo>
                  <a:pt x="77098" y="9900"/>
                </a:lnTo>
                <a:lnTo>
                  <a:pt x="126237" y="0"/>
                </a:lnTo>
                <a:lnTo>
                  <a:pt x="3207511" y="0"/>
                </a:lnTo>
                <a:lnTo>
                  <a:pt x="3256651" y="9900"/>
                </a:lnTo>
                <a:lnTo>
                  <a:pt x="3296777" y="36909"/>
                </a:lnTo>
                <a:lnTo>
                  <a:pt x="3323830" y="76991"/>
                </a:lnTo>
                <a:lnTo>
                  <a:pt x="3333750" y="126111"/>
                </a:lnTo>
                <a:lnTo>
                  <a:pt x="3333750" y="630936"/>
                </a:lnTo>
                <a:lnTo>
                  <a:pt x="3323830" y="680075"/>
                </a:lnTo>
                <a:lnTo>
                  <a:pt x="3296777" y="720201"/>
                </a:lnTo>
                <a:lnTo>
                  <a:pt x="3256651" y="747254"/>
                </a:lnTo>
                <a:lnTo>
                  <a:pt x="3207511" y="757174"/>
                </a:lnTo>
                <a:lnTo>
                  <a:pt x="126237" y="757174"/>
                </a:lnTo>
                <a:lnTo>
                  <a:pt x="77098" y="747254"/>
                </a:lnTo>
                <a:lnTo>
                  <a:pt x="36972" y="720201"/>
                </a:lnTo>
                <a:lnTo>
                  <a:pt x="9919" y="680075"/>
                </a:lnTo>
                <a:lnTo>
                  <a:pt x="0" y="630936"/>
                </a:lnTo>
                <a:lnTo>
                  <a:pt x="0" y="126111"/>
                </a:lnTo>
                <a:close/>
              </a:path>
            </a:pathLst>
          </a:custGeom>
          <a:ln w="12700">
            <a:solidFill>
              <a:srgbClr val="82C7DC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object 22">
            <a:extLst>
              <a:ext uri="{FF2B5EF4-FFF2-40B4-BE49-F238E27FC236}">
                <a16:creationId xmlns:a16="http://schemas.microsoft.com/office/drawing/2014/main" id="{070BC502-4411-F616-C8A4-7C3AD9C2CD06}"/>
              </a:ext>
            </a:extLst>
          </p:cNvPr>
          <p:cNvSpPr/>
          <p:nvPr/>
        </p:nvSpPr>
        <p:spPr>
          <a:xfrm>
            <a:off x="6593211" y="5261133"/>
            <a:ext cx="4852355" cy="757555"/>
          </a:xfrm>
          <a:custGeom>
            <a:avLst/>
            <a:gdLst/>
            <a:ahLst/>
            <a:cxnLst/>
            <a:rect l="l" t="t" r="r" b="b"/>
            <a:pathLst>
              <a:path w="3333750" h="757554">
                <a:moveTo>
                  <a:pt x="0" y="126111"/>
                </a:moveTo>
                <a:lnTo>
                  <a:pt x="9919" y="76991"/>
                </a:lnTo>
                <a:lnTo>
                  <a:pt x="36972" y="36909"/>
                </a:lnTo>
                <a:lnTo>
                  <a:pt x="77098" y="9900"/>
                </a:lnTo>
                <a:lnTo>
                  <a:pt x="126237" y="0"/>
                </a:lnTo>
                <a:lnTo>
                  <a:pt x="3207511" y="0"/>
                </a:lnTo>
                <a:lnTo>
                  <a:pt x="3256651" y="9900"/>
                </a:lnTo>
                <a:lnTo>
                  <a:pt x="3296777" y="36909"/>
                </a:lnTo>
                <a:lnTo>
                  <a:pt x="3323830" y="76991"/>
                </a:lnTo>
                <a:lnTo>
                  <a:pt x="3333750" y="126111"/>
                </a:lnTo>
                <a:lnTo>
                  <a:pt x="3333750" y="630936"/>
                </a:lnTo>
                <a:lnTo>
                  <a:pt x="3323830" y="680075"/>
                </a:lnTo>
                <a:lnTo>
                  <a:pt x="3296777" y="720201"/>
                </a:lnTo>
                <a:lnTo>
                  <a:pt x="3256651" y="747254"/>
                </a:lnTo>
                <a:lnTo>
                  <a:pt x="3207511" y="757174"/>
                </a:lnTo>
                <a:lnTo>
                  <a:pt x="126237" y="757174"/>
                </a:lnTo>
                <a:lnTo>
                  <a:pt x="77098" y="747254"/>
                </a:lnTo>
                <a:lnTo>
                  <a:pt x="36972" y="720201"/>
                </a:lnTo>
                <a:lnTo>
                  <a:pt x="9919" y="680075"/>
                </a:lnTo>
                <a:lnTo>
                  <a:pt x="0" y="630936"/>
                </a:lnTo>
                <a:lnTo>
                  <a:pt x="0" y="126111"/>
                </a:lnTo>
                <a:close/>
              </a:path>
            </a:pathLst>
          </a:custGeom>
          <a:ln w="12700">
            <a:solidFill>
              <a:srgbClr val="82C7DC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2013675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4A9677-7913-0BE8-C54F-ABB8DC5227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AB82FEB3-0961-4E4C-DD8A-776B134BF22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914400" y="3733800"/>
            <a:ext cx="7979868" cy="763671"/>
          </a:xfrm>
          <a:prstGeom prst="rect">
            <a:avLst/>
          </a:prstGeom>
        </p:spPr>
        <p:txBody>
          <a:bodyPr vert="horz" wrap="square" lIns="0" tIns="95885" rIns="0" bIns="0" rtlCol="0">
            <a:spAutoFit/>
          </a:bodyPr>
          <a:lstStyle/>
          <a:p>
            <a:pPr marL="12700" marR="5080">
              <a:lnSpc>
                <a:spcPts val="5180"/>
              </a:lnSpc>
              <a:spcBef>
                <a:spcPts val="755"/>
              </a:spcBef>
            </a:pPr>
            <a:r>
              <a:rPr lang="ru-RU" sz="4800" b="0" dirty="0">
                <a:latin typeface="Arial" panose="020B0604020202020204" pitchFamily="34" charset="0"/>
                <a:cs typeface="Arial" panose="020B0604020202020204" pitchFamily="34" charset="0"/>
              </a:rPr>
              <a:t>Первый шаг к белку это…?</a:t>
            </a:r>
          </a:p>
        </p:txBody>
      </p:sp>
      <p:sp>
        <p:nvSpPr>
          <p:cNvPr id="3" name="object 12">
            <a:extLst>
              <a:ext uri="{FF2B5EF4-FFF2-40B4-BE49-F238E27FC236}">
                <a16:creationId xmlns:a16="http://schemas.microsoft.com/office/drawing/2014/main" id="{DEAAD595-F9EB-57F0-B304-50342A1DB8B0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457200" y="6400800"/>
            <a:ext cx="2065020" cy="2520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ts val="186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lassification:</a:t>
            </a:r>
            <a:r>
              <a:rPr kumimoji="0" sz="1000" b="0" i="0" u="none" strike="noStrike" kern="1200" cap="none" spc="-6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33520440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3C8D80-F06F-6D00-C1A8-63DBB9F0B1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12">
            <a:extLst>
              <a:ext uri="{FF2B5EF4-FFF2-40B4-BE49-F238E27FC236}">
                <a16:creationId xmlns:a16="http://schemas.microsoft.com/office/drawing/2014/main" id="{7578F395-2EA8-119D-60E2-45E1C5165AD3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457200" y="6400800"/>
            <a:ext cx="2065020" cy="2520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ts val="186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lassification:</a:t>
            </a:r>
            <a:r>
              <a:rPr kumimoji="0" sz="1000" b="0" i="0" u="none" strike="noStrike" kern="1200" cap="none" spc="-6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UBLIC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754B9FA6-00DD-42E5-8CD4-56C0FE16D0D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954"/>
          <a:stretch/>
        </p:blipFill>
        <p:spPr>
          <a:xfrm>
            <a:off x="9427" y="1"/>
            <a:ext cx="12192000" cy="5969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70598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9E2A7F-8825-7344-7B38-59C3142F4B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12">
            <a:extLst>
              <a:ext uri="{FF2B5EF4-FFF2-40B4-BE49-F238E27FC236}">
                <a16:creationId xmlns:a16="http://schemas.microsoft.com/office/drawing/2014/main" id="{44E39B33-2EC8-391D-97C1-AC813B1BF48B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457200" y="6400800"/>
            <a:ext cx="2065020" cy="2520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ts val="186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lassification:</a:t>
            </a:r>
            <a:r>
              <a:rPr kumimoji="0" sz="1000" b="0" i="0" u="none" strike="noStrike" kern="1200" cap="none" spc="-6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UBLIC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5A29059-0EED-FD3C-9437-6C4CE3F15449}"/>
              </a:ext>
            </a:extLst>
          </p:cNvPr>
          <p:cNvSpPr txBox="1"/>
          <p:nvPr/>
        </p:nvSpPr>
        <p:spPr>
          <a:xfrm>
            <a:off x="2514600" y="457200"/>
            <a:ext cx="96774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Что дает высокий титр?</a:t>
            </a:r>
          </a:p>
        </p:txBody>
      </p:sp>
      <p:graphicFrame>
        <p:nvGraphicFramePr>
          <p:cNvPr id="2" name="Таблица 7">
            <a:extLst>
              <a:ext uri="{FF2B5EF4-FFF2-40B4-BE49-F238E27FC236}">
                <a16:creationId xmlns:a16="http://schemas.microsoft.com/office/drawing/2014/main" id="{CC8AAA1B-F8BD-5DC0-D302-1884D6D026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2319775"/>
              </p:ext>
            </p:extLst>
          </p:nvPr>
        </p:nvGraphicFramePr>
        <p:xfrm>
          <a:off x="381000" y="1600200"/>
          <a:ext cx="11506200" cy="3962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12200">
                  <a:extLst>
                    <a:ext uri="{9D8B030D-6E8A-4147-A177-3AD203B41FA5}">
                      <a16:colId xmlns:a16="http://schemas.microsoft.com/office/drawing/2014/main" val="2716814046"/>
                    </a:ext>
                  </a:extLst>
                </a:gridCol>
                <a:gridCol w="1102400">
                  <a:extLst>
                    <a:ext uri="{9D8B030D-6E8A-4147-A177-3AD203B41FA5}">
                      <a16:colId xmlns:a16="http://schemas.microsoft.com/office/drawing/2014/main" val="86417663"/>
                    </a:ext>
                  </a:extLst>
                </a:gridCol>
                <a:gridCol w="2029408">
                  <a:extLst>
                    <a:ext uri="{9D8B030D-6E8A-4147-A177-3AD203B41FA5}">
                      <a16:colId xmlns:a16="http://schemas.microsoft.com/office/drawing/2014/main" val="3428174862"/>
                    </a:ext>
                  </a:extLst>
                </a:gridCol>
                <a:gridCol w="957259">
                  <a:extLst>
                    <a:ext uri="{9D8B030D-6E8A-4147-A177-3AD203B41FA5}">
                      <a16:colId xmlns:a16="http://schemas.microsoft.com/office/drawing/2014/main" val="1928137461"/>
                    </a:ext>
                  </a:extLst>
                </a:gridCol>
                <a:gridCol w="2199765">
                  <a:extLst>
                    <a:ext uri="{9D8B030D-6E8A-4147-A177-3AD203B41FA5}">
                      <a16:colId xmlns:a16="http://schemas.microsoft.com/office/drawing/2014/main" val="4201080719"/>
                    </a:ext>
                  </a:extLst>
                </a:gridCol>
                <a:gridCol w="1065371">
                  <a:extLst>
                    <a:ext uri="{9D8B030D-6E8A-4147-A177-3AD203B41FA5}">
                      <a16:colId xmlns:a16="http://schemas.microsoft.com/office/drawing/2014/main" val="2099526282"/>
                    </a:ext>
                  </a:extLst>
                </a:gridCol>
                <a:gridCol w="1450346">
                  <a:extLst>
                    <a:ext uri="{9D8B030D-6E8A-4147-A177-3AD203B41FA5}">
                      <a16:colId xmlns:a16="http://schemas.microsoft.com/office/drawing/2014/main" val="3295257647"/>
                    </a:ext>
                  </a:extLst>
                </a:gridCol>
                <a:gridCol w="1289451">
                  <a:extLst>
                    <a:ext uri="{9D8B030D-6E8A-4147-A177-3AD203B41FA5}">
                      <a16:colId xmlns:a16="http://schemas.microsoft.com/office/drawing/2014/main" val="833511476"/>
                    </a:ext>
                  </a:extLst>
                </a:gridCol>
              </a:tblGrid>
              <a:tr h="990600">
                <a:tc>
                  <a:txBody>
                    <a:bodyPr/>
                    <a:lstStyle/>
                    <a:p>
                      <a:pPr marL="0" algn="ctr" defTabSz="1219170" rtl="0" eaLnBrk="1" fontAlgn="ctr" latinLnBrk="0" hangingPunct="1"/>
                      <a:endParaRPr lang="ru-RU" sz="1800" b="1" kern="1200" dirty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ctr" latinLnBrk="0" hangingPunct="1"/>
                      <a:endParaRPr lang="ru-RU" sz="1800" b="1" kern="1200" dirty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ctr" latinLnBrk="0" hangingPunct="1"/>
                      <a:r>
                        <a:rPr lang="ru-RU" sz="1600" b="1" kern="120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итр (в 1мл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ctr" latinLnBrk="0" hangingPunct="1"/>
                      <a:r>
                        <a:rPr lang="ru-RU" sz="1600" b="1" kern="120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орма, л/т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ctr" latinLnBrk="0" hangingPunct="1"/>
                      <a:r>
                        <a:rPr lang="ru-RU" sz="1600" b="1" kern="120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Число</a:t>
                      </a:r>
                      <a:r>
                        <a:rPr lang="en-US" sz="1600" b="1" kern="120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b="1" kern="120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актерий </a:t>
                      </a:r>
                    </a:p>
                    <a:p>
                      <a:pPr marL="0" algn="ctr" defTabSz="1219170" rtl="0" eaLnBrk="1" fontAlgn="ctr" latinLnBrk="0" hangingPunct="1"/>
                      <a:r>
                        <a:rPr lang="ru-RU" sz="1600" b="1" kern="120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а 1 т, шт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b" latinLnBrk="0" hangingPunct="1"/>
                      <a:r>
                        <a:rPr lang="ru-RU" sz="1600" b="1" kern="120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ТЗ</a:t>
                      </a:r>
                      <a:r>
                        <a:rPr lang="en-US" sz="1600" b="1" kern="120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b="1" kern="120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b" latinLnBrk="0" hangingPunct="1"/>
                      <a:r>
                        <a:rPr lang="ru-RU" sz="1600" b="1" kern="120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емян в 1т, шт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b" latinLnBrk="0" hangingPunct="1"/>
                      <a:r>
                        <a:rPr lang="ru-RU" sz="1600" b="1" kern="120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актерий на 1 семя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46179972"/>
                  </a:ext>
                </a:extLst>
              </a:tr>
              <a:tr h="990600">
                <a:tc>
                  <a:txBody>
                    <a:bodyPr/>
                    <a:lstStyle/>
                    <a:p>
                      <a:pPr algn="ctr"/>
                      <a:endParaRPr lang="ru-RU" sz="1200" b="0" dirty="0">
                        <a:solidFill>
                          <a:schemeClr val="tx1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х10</a:t>
                      </a:r>
                      <a:r>
                        <a:rPr lang="ru-RU" sz="1200" b="1" strike="noStrike" baseline="300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  <a:endParaRPr lang="ru-RU" sz="1200" b="1" dirty="0">
                        <a:solidFill>
                          <a:schemeClr val="tx1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b" latinLnBrk="0" hangingPunct="1"/>
                      <a:r>
                        <a:rPr lang="ru-RU" sz="1600" b="1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 000 000 00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ctr" latinLnBrk="0" hangingPunct="1"/>
                      <a:r>
                        <a:rPr lang="ru-RU" sz="1600" b="1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,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b" latinLnBrk="0" hangingPunct="1"/>
                      <a:r>
                        <a:rPr lang="ru-RU" sz="1600" b="1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0 000 000 000 00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b" latinLnBrk="0" hangingPunct="1"/>
                      <a:r>
                        <a:rPr lang="ru-RU" sz="1600" b="1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b" latinLnBrk="0" hangingPunct="1"/>
                      <a:r>
                        <a:rPr lang="ru-RU" sz="1600" b="1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 666 66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b" latinLnBrk="0" hangingPunct="1"/>
                      <a:r>
                        <a:rPr lang="ru-RU" sz="2000" b="1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 000 000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8996334"/>
                  </a:ext>
                </a:extLst>
              </a:tr>
              <a:tr h="990600"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НОКУЛЯНТ 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х10</a:t>
                      </a:r>
                      <a:r>
                        <a:rPr lang="ru-RU" sz="1200" strike="noStrike" baseline="300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  <a:br>
                        <a:rPr lang="ru-RU" sz="1200" strike="noStrike" baseline="300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b" latinLnBrk="0" hangingPunct="1"/>
                      <a:r>
                        <a:rPr lang="ru-RU" sz="1600" b="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 000 000 00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ctr" latinLnBrk="0" hangingPunct="1"/>
                      <a:r>
                        <a:rPr lang="ru-RU" sz="1600" b="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,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b" latinLnBrk="0" hangingPunct="1"/>
                      <a:r>
                        <a:rPr lang="ru-RU" sz="1600" b="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4 300 000 000 00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b" latinLnBrk="0" hangingPunct="1"/>
                      <a:r>
                        <a:rPr lang="ru-RU" sz="1600" b="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b" latinLnBrk="0" hangingPunct="1"/>
                      <a:r>
                        <a:rPr lang="ru-RU" sz="1600" b="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 666 66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b" latinLnBrk="0" hangingPunct="1"/>
                      <a:r>
                        <a:rPr lang="ru-RU" sz="1600" b="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145 000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14374093"/>
                  </a:ext>
                </a:extLst>
              </a:tr>
              <a:tr h="990600"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НОКУЛЯНТ 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х10</a:t>
                      </a:r>
                      <a:r>
                        <a:rPr lang="ru-RU" sz="1200" baseline="300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b" latinLnBrk="0" hangingPunct="1"/>
                      <a:r>
                        <a:rPr lang="ru-RU" sz="1600" b="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 000 000 00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ctr" latinLnBrk="0" hangingPunct="1"/>
                      <a:r>
                        <a:rPr lang="ru-RU" sz="1600" b="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,3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b" latinLnBrk="0" hangingPunct="1"/>
                      <a:r>
                        <a:rPr lang="ru-RU" sz="1600" b="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 950 000 000 00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b" latinLnBrk="0" hangingPunct="1"/>
                      <a:r>
                        <a:rPr lang="ru-RU" sz="1600" b="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b" latinLnBrk="0" hangingPunct="1"/>
                      <a:r>
                        <a:rPr lang="ru-RU" sz="1600" b="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 666 66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b" latinLnBrk="0" hangingPunct="1"/>
                      <a:r>
                        <a:rPr lang="ru-RU" sz="1600" b="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042 500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3819423"/>
                  </a:ext>
                </a:extLst>
              </a:tr>
            </a:tbl>
          </a:graphicData>
        </a:graphic>
      </p:graphicFrame>
      <p:sp>
        <p:nvSpPr>
          <p:cNvPr id="5" name="Прямоугольник: скругленные углы 4">
            <a:extLst>
              <a:ext uri="{FF2B5EF4-FFF2-40B4-BE49-F238E27FC236}">
                <a16:creationId xmlns:a16="http://schemas.microsoft.com/office/drawing/2014/main" id="{FA7A2B1A-0826-5E22-80A3-B155C9C53CC1}"/>
              </a:ext>
            </a:extLst>
          </p:cNvPr>
          <p:cNvSpPr/>
          <p:nvPr/>
        </p:nvSpPr>
        <p:spPr>
          <a:xfrm>
            <a:off x="10557164" y="2790825"/>
            <a:ext cx="1295400" cy="533400"/>
          </a:xfrm>
          <a:prstGeom prst="round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" name="Рисунок 2" descr="Изображение выглядит как Графика&#10;&#10;Автоматически созданное описание">
            <a:extLst>
              <a:ext uri="{FF2B5EF4-FFF2-40B4-BE49-F238E27FC236}">
                <a16:creationId xmlns:a16="http://schemas.microsoft.com/office/drawing/2014/main" id="{FF2A8908-6B74-6C90-C2EA-774E0373DA9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2895600"/>
            <a:ext cx="1125764" cy="32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00067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EECC2E-FA7A-B9EA-1E79-23D61DF6D2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12">
            <a:extLst>
              <a:ext uri="{FF2B5EF4-FFF2-40B4-BE49-F238E27FC236}">
                <a16:creationId xmlns:a16="http://schemas.microsoft.com/office/drawing/2014/main" id="{F0EDAEF4-C0C8-01AB-8C63-77D765C93C13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457200" y="6400800"/>
            <a:ext cx="2065020" cy="2520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ts val="186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lassification:</a:t>
            </a:r>
            <a:r>
              <a:rPr kumimoji="0" sz="1000" b="0" i="0" u="none" strike="noStrike" kern="1200" cap="none" spc="-6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UBLIC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84E0EE81-B169-28C8-2578-4CDBDCC1723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990600"/>
            <a:ext cx="12192000" cy="518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Задача – получить здоровые и дружные всходы, с заданной густотой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405136E-CCD3-8344-35CC-8E2E7C4BF7D2}"/>
              </a:ext>
            </a:extLst>
          </p:cNvPr>
          <p:cNvSpPr txBox="1"/>
          <p:nvPr/>
        </p:nvSpPr>
        <p:spPr>
          <a:xfrm>
            <a:off x="2514600" y="457200"/>
            <a:ext cx="96774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изводится по особой технологии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18AF3638-7CE7-4CD9-B9A4-66B638074A8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1066800"/>
            <a:ext cx="11310135" cy="494589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8965B89-B11E-4511-8C61-C66975A5D129}"/>
              </a:ext>
            </a:extLst>
          </p:cNvPr>
          <p:cNvSpPr txBox="1"/>
          <p:nvPr/>
        </p:nvSpPr>
        <p:spPr>
          <a:xfrm>
            <a:off x="4056477" y="1556666"/>
            <a:ext cx="3587580" cy="6669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67" b="1" dirty="0">
                <a:solidFill>
                  <a:schemeClr val="bg1"/>
                </a:solidFill>
                <a:latin typeface="HelveticaNeueCyr" panose="02000503040000020004" pitchFamily="2" charset="-52"/>
              </a:rPr>
              <a:t>Искусственное </a:t>
            </a:r>
          </a:p>
          <a:p>
            <a:r>
              <a:rPr lang="ru-RU" sz="1867" b="1" dirty="0">
                <a:solidFill>
                  <a:schemeClr val="bg1"/>
                </a:solidFill>
                <a:latin typeface="HelveticaNeueCyr" panose="02000503040000020004" pitchFamily="2" charset="-52"/>
              </a:rPr>
              <a:t>повышение температуры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F57FADE-976A-4D45-A9E7-B751C6F513F4}"/>
              </a:ext>
            </a:extLst>
          </p:cNvPr>
          <p:cNvSpPr txBox="1"/>
          <p:nvPr/>
        </p:nvSpPr>
        <p:spPr>
          <a:xfrm>
            <a:off x="3610026" y="2659434"/>
            <a:ext cx="3587580" cy="6669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67" b="1" dirty="0">
                <a:solidFill>
                  <a:schemeClr val="bg1"/>
                </a:solidFill>
                <a:latin typeface="HelveticaNeueCyr" panose="02000503040000020004" pitchFamily="2" charset="-52"/>
              </a:rPr>
              <a:t>Изменение давления</a:t>
            </a:r>
          </a:p>
          <a:p>
            <a:r>
              <a:rPr lang="ru-RU" sz="1867" b="1" dirty="0">
                <a:solidFill>
                  <a:schemeClr val="bg1"/>
                </a:solidFill>
                <a:latin typeface="HelveticaNeueCyr" panose="02000503040000020004" pitchFamily="2" charset="-52"/>
              </a:rPr>
              <a:t>в реакторе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97B51A3-FB7F-4867-9791-F1012ACB9389}"/>
              </a:ext>
            </a:extLst>
          </p:cNvPr>
          <p:cNvSpPr txBox="1"/>
          <p:nvPr/>
        </p:nvSpPr>
        <p:spPr>
          <a:xfrm>
            <a:off x="3049377" y="3648335"/>
            <a:ext cx="3587580" cy="6669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67" b="1" dirty="0">
                <a:solidFill>
                  <a:schemeClr val="bg1"/>
                </a:solidFill>
                <a:latin typeface="HelveticaNeueCyr" panose="02000503040000020004" pitchFamily="2" charset="-52"/>
              </a:rPr>
              <a:t>Изменение </a:t>
            </a:r>
          </a:p>
          <a:p>
            <a:r>
              <a:rPr lang="en-US" sz="1867" b="1" dirty="0">
                <a:solidFill>
                  <a:schemeClr val="bg1"/>
                </a:solidFill>
                <a:latin typeface="HelveticaNeueCyr" panose="02000503040000020004" pitchFamily="2" charset="-52"/>
              </a:rPr>
              <a:t>pH </a:t>
            </a:r>
            <a:r>
              <a:rPr lang="ru-RU" sz="1867" b="1" dirty="0">
                <a:solidFill>
                  <a:schemeClr val="bg1"/>
                </a:solidFill>
                <a:latin typeface="HelveticaNeueCyr" panose="02000503040000020004" pitchFamily="2" charset="-52"/>
              </a:rPr>
              <a:t>среды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C0B9C3F-B27E-46BF-8587-90DFCA842BD9}"/>
              </a:ext>
            </a:extLst>
          </p:cNvPr>
          <p:cNvSpPr txBox="1"/>
          <p:nvPr/>
        </p:nvSpPr>
        <p:spPr>
          <a:xfrm>
            <a:off x="2479825" y="4744020"/>
            <a:ext cx="3587580" cy="6669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67" b="1" dirty="0">
                <a:solidFill>
                  <a:schemeClr val="bg1"/>
                </a:solidFill>
                <a:latin typeface="HelveticaNeueCyr" panose="02000503040000020004" pitchFamily="2" charset="-52"/>
              </a:rPr>
              <a:t>Добавление</a:t>
            </a:r>
          </a:p>
          <a:p>
            <a:r>
              <a:rPr lang="ru-RU" sz="1867" b="1" dirty="0">
                <a:solidFill>
                  <a:schemeClr val="bg1"/>
                </a:solidFill>
                <a:latin typeface="HelveticaNeueCyr" panose="02000503040000020004" pitchFamily="2" charset="-52"/>
              </a:rPr>
              <a:t>химических препаратов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E0E2C08-937B-453C-AD39-06BA91E2C4C5}"/>
              </a:ext>
            </a:extLst>
          </p:cNvPr>
          <p:cNvSpPr txBox="1"/>
          <p:nvPr/>
        </p:nvSpPr>
        <p:spPr>
          <a:xfrm>
            <a:off x="9730940" y="4788514"/>
            <a:ext cx="1072361" cy="6669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867" b="1" dirty="0" err="1">
                <a:solidFill>
                  <a:srgbClr val="00A1CE"/>
                </a:solidFill>
                <a:latin typeface="HelveticaNeueCyr" panose="02000503040000020004" pitchFamily="2" charset="-52"/>
              </a:rPr>
              <a:t>pH</a:t>
            </a:r>
            <a:endParaRPr lang="ru-RU" sz="1867" b="1" dirty="0">
              <a:solidFill>
                <a:srgbClr val="00A1CE"/>
              </a:solidFill>
              <a:latin typeface="HelveticaNeueCyr" panose="02000503040000020004" pitchFamily="2" charset="-52"/>
            </a:endParaRPr>
          </a:p>
          <a:p>
            <a:pPr algn="ctr"/>
            <a:r>
              <a:rPr lang="ru-RU" sz="1867" b="1" dirty="0">
                <a:solidFill>
                  <a:srgbClr val="00A1CE"/>
                </a:solidFill>
                <a:latin typeface="HelveticaNeueCyr" panose="02000503040000020004" pitchFamily="2" charset="-52"/>
              </a:rPr>
              <a:t>4,7–8</a:t>
            </a:r>
          </a:p>
        </p:txBody>
      </p:sp>
    </p:spTree>
    <p:extLst>
      <p:ext uri="{BB962C8B-B14F-4D97-AF65-F5344CB8AC3E}">
        <p14:creationId xmlns:p14="http://schemas.microsoft.com/office/powerpoint/2010/main" val="22588633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5F59E5-FB39-AA15-E8D9-6B6EC008B1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12">
            <a:extLst>
              <a:ext uri="{FF2B5EF4-FFF2-40B4-BE49-F238E27FC236}">
                <a16:creationId xmlns:a16="http://schemas.microsoft.com/office/drawing/2014/main" id="{8BAB8167-F38B-CA8C-1F0B-93566F312E1E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457200" y="6400800"/>
            <a:ext cx="2065020" cy="2520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ts val="186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lassification:</a:t>
            </a:r>
            <a:r>
              <a:rPr kumimoji="0" sz="1000" b="0" i="0" u="none" strike="noStrike" kern="1200" cap="none" spc="-6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UBLIC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6066468A-9554-69BA-1BFD-36EBFD29669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990600"/>
            <a:ext cx="12192000" cy="518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Задача – получить здоровые и дружные всходы, с заданной густотой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065B601-3F66-DEB7-7678-7E160E69EFD2}"/>
              </a:ext>
            </a:extLst>
          </p:cNvPr>
          <p:cNvSpPr txBox="1"/>
          <p:nvPr/>
        </p:nvSpPr>
        <p:spPr>
          <a:xfrm>
            <a:off x="2514600" y="457200"/>
            <a:ext cx="96774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Что такое - «</a:t>
            </a:r>
            <a:r>
              <a:rPr kumimoji="0" lang="ru-RU" sz="24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смо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Защита»</a:t>
            </a:r>
          </a:p>
        </p:txBody>
      </p:sp>
      <p:sp>
        <p:nvSpPr>
          <p:cNvPr id="11" name="object 19">
            <a:extLst>
              <a:ext uri="{FF2B5EF4-FFF2-40B4-BE49-F238E27FC236}">
                <a16:creationId xmlns:a16="http://schemas.microsoft.com/office/drawing/2014/main" id="{1BEC94FC-37D3-4419-9833-86E07E0FDECA}"/>
              </a:ext>
            </a:extLst>
          </p:cNvPr>
          <p:cNvSpPr/>
          <p:nvPr/>
        </p:nvSpPr>
        <p:spPr>
          <a:xfrm>
            <a:off x="457200" y="1676400"/>
            <a:ext cx="10994450" cy="4245187"/>
          </a:xfrm>
          <a:custGeom>
            <a:avLst/>
            <a:gdLst/>
            <a:ahLst/>
            <a:cxnLst/>
            <a:rect l="l" t="t" r="r" b="b"/>
            <a:pathLst>
              <a:path w="8221345" h="3183890">
                <a:moveTo>
                  <a:pt x="180000" y="0"/>
                </a:moveTo>
                <a:lnTo>
                  <a:pt x="8041003" y="0"/>
                </a:lnTo>
                <a:lnTo>
                  <a:pt x="8088712" y="6458"/>
                </a:lnTo>
                <a:lnTo>
                  <a:pt x="8131670" y="24667"/>
                </a:lnTo>
                <a:lnTo>
                  <a:pt x="8168128" y="52875"/>
                </a:lnTo>
                <a:lnTo>
                  <a:pt x="8196336" y="89333"/>
                </a:lnTo>
                <a:lnTo>
                  <a:pt x="8214545" y="132290"/>
                </a:lnTo>
                <a:lnTo>
                  <a:pt x="8221003" y="179995"/>
                </a:lnTo>
                <a:lnTo>
                  <a:pt x="8221003" y="3003572"/>
                </a:lnTo>
                <a:lnTo>
                  <a:pt x="8214545" y="3051278"/>
                </a:lnTo>
                <a:lnTo>
                  <a:pt x="8196336" y="3094236"/>
                </a:lnTo>
                <a:lnTo>
                  <a:pt x="8168128" y="3130694"/>
                </a:lnTo>
                <a:lnTo>
                  <a:pt x="8131670" y="3158902"/>
                </a:lnTo>
                <a:lnTo>
                  <a:pt x="8088712" y="3177111"/>
                </a:lnTo>
                <a:lnTo>
                  <a:pt x="8041003" y="3183569"/>
                </a:lnTo>
                <a:lnTo>
                  <a:pt x="180000" y="3183569"/>
                </a:lnTo>
                <a:lnTo>
                  <a:pt x="132292" y="3177111"/>
                </a:lnTo>
                <a:lnTo>
                  <a:pt x="89333" y="3158902"/>
                </a:lnTo>
                <a:lnTo>
                  <a:pt x="52875" y="3130694"/>
                </a:lnTo>
                <a:lnTo>
                  <a:pt x="24666" y="3094236"/>
                </a:lnTo>
                <a:lnTo>
                  <a:pt x="6458" y="3051278"/>
                </a:lnTo>
                <a:lnTo>
                  <a:pt x="0" y="3003572"/>
                </a:lnTo>
                <a:lnTo>
                  <a:pt x="0" y="179995"/>
                </a:lnTo>
                <a:lnTo>
                  <a:pt x="6458" y="132290"/>
                </a:lnTo>
                <a:lnTo>
                  <a:pt x="24666" y="89333"/>
                </a:lnTo>
                <a:lnTo>
                  <a:pt x="52875" y="52875"/>
                </a:lnTo>
                <a:lnTo>
                  <a:pt x="89333" y="24667"/>
                </a:lnTo>
                <a:lnTo>
                  <a:pt x="132292" y="6458"/>
                </a:lnTo>
                <a:lnTo>
                  <a:pt x="180000" y="0"/>
                </a:lnTo>
                <a:close/>
              </a:path>
            </a:pathLst>
          </a:custGeom>
          <a:ln w="7199">
            <a:solidFill>
              <a:srgbClr val="989899"/>
            </a:solidFill>
          </a:ln>
        </p:spPr>
        <p:txBody>
          <a:bodyPr wrap="square" lIns="0" tIns="0" rIns="0" bIns="0" rtlCol="0"/>
          <a:lstStyle/>
          <a:p>
            <a:endParaRPr sz="2400"/>
          </a:p>
        </p:txBody>
      </p:sp>
      <p:sp>
        <p:nvSpPr>
          <p:cNvPr id="12" name="object 20">
            <a:extLst>
              <a:ext uri="{FF2B5EF4-FFF2-40B4-BE49-F238E27FC236}">
                <a16:creationId xmlns:a16="http://schemas.microsoft.com/office/drawing/2014/main" id="{44192189-35F7-493E-A1C0-49D4E1BFDAB8}"/>
              </a:ext>
            </a:extLst>
          </p:cNvPr>
          <p:cNvSpPr/>
          <p:nvPr/>
        </p:nvSpPr>
        <p:spPr>
          <a:xfrm>
            <a:off x="2595362" y="1404530"/>
            <a:ext cx="6946900" cy="596900"/>
          </a:xfrm>
          <a:custGeom>
            <a:avLst/>
            <a:gdLst/>
            <a:ahLst/>
            <a:cxnLst/>
            <a:rect l="l" t="t" r="r" b="b"/>
            <a:pathLst>
              <a:path w="5210175" h="447675">
                <a:moveTo>
                  <a:pt x="5210176" y="0"/>
                </a:moveTo>
                <a:lnTo>
                  <a:pt x="0" y="0"/>
                </a:lnTo>
                <a:lnTo>
                  <a:pt x="0" y="447076"/>
                </a:lnTo>
                <a:lnTo>
                  <a:pt x="5210176" y="447076"/>
                </a:lnTo>
                <a:lnTo>
                  <a:pt x="521017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2400" dirty="0"/>
          </a:p>
        </p:txBody>
      </p:sp>
      <p:pic>
        <p:nvPicPr>
          <p:cNvPr id="24" name="object 33">
            <a:extLst>
              <a:ext uri="{FF2B5EF4-FFF2-40B4-BE49-F238E27FC236}">
                <a16:creationId xmlns:a16="http://schemas.microsoft.com/office/drawing/2014/main" id="{32961A20-8819-4FBE-AFBC-48AFB4A767FE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498316" y="1621877"/>
            <a:ext cx="109045" cy="109045"/>
          </a:xfrm>
          <a:prstGeom prst="rect">
            <a:avLst/>
          </a:prstGeom>
        </p:spPr>
      </p:pic>
      <p:pic>
        <p:nvPicPr>
          <p:cNvPr id="25" name="object 34">
            <a:extLst>
              <a:ext uri="{FF2B5EF4-FFF2-40B4-BE49-F238E27FC236}">
                <a16:creationId xmlns:a16="http://schemas.microsoft.com/office/drawing/2014/main" id="{57B4FB78-F5D3-4F65-9122-9594113DC86B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9511692" y="1621877"/>
            <a:ext cx="109045" cy="109045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3A5AEDCA-91B9-4E45-A70D-25F6FB749678}"/>
              </a:ext>
            </a:extLst>
          </p:cNvPr>
          <p:cNvSpPr txBox="1"/>
          <p:nvPr/>
        </p:nvSpPr>
        <p:spPr>
          <a:xfrm>
            <a:off x="2469374" y="1471215"/>
            <a:ext cx="7193397" cy="379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867" b="1" dirty="0">
                <a:solidFill>
                  <a:srgbClr val="0069A9"/>
                </a:solidFill>
                <a:latin typeface="HelveticaNeueCyr" panose="02000503040000020004" pitchFamily="2" charset="-52"/>
              </a:rPr>
              <a:t>БАКТЕРИИ АДАПТИРОВАНЫ К РОССИЙСКИМ ПОЧВАМ</a:t>
            </a:r>
          </a:p>
        </p:txBody>
      </p: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E3EACA2A-74FA-3EF9-8667-C885C8A6D8B7}"/>
              </a:ext>
            </a:extLst>
          </p:cNvPr>
          <p:cNvGrpSpPr/>
          <p:nvPr/>
        </p:nvGrpSpPr>
        <p:grpSpPr>
          <a:xfrm>
            <a:off x="1712195" y="1981200"/>
            <a:ext cx="8764282" cy="3810000"/>
            <a:chOff x="2296577" y="2268760"/>
            <a:chExt cx="7518415" cy="3268398"/>
          </a:xfrm>
        </p:grpSpPr>
        <p:pic>
          <p:nvPicPr>
            <p:cNvPr id="9" name="object 14">
              <a:extLst>
                <a:ext uri="{FF2B5EF4-FFF2-40B4-BE49-F238E27FC236}">
                  <a16:creationId xmlns:a16="http://schemas.microsoft.com/office/drawing/2014/main" id="{196E17C2-DD0B-498A-9260-9BB822E93F6C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238749" y="3226526"/>
              <a:ext cx="3575731" cy="2310632"/>
            </a:xfrm>
            <a:prstGeom prst="rect">
              <a:avLst/>
            </a:prstGeom>
          </p:spPr>
        </p:pic>
        <p:pic>
          <p:nvPicPr>
            <p:cNvPr id="10" name="object 17">
              <a:extLst>
                <a:ext uri="{FF2B5EF4-FFF2-40B4-BE49-F238E27FC236}">
                  <a16:creationId xmlns:a16="http://schemas.microsoft.com/office/drawing/2014/main" id="{D2287E18-9B92-4FA4-A49E-F8B961EC4AE5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2297087" y="3226526"/>
              <a:ext cx="3575731" cy="2310632"/>
            </a:xfrm>
            <a:prstGeom prst="rect">
              <a:avLst/>
            </a:prstGeom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DAB05821-F165-4B72-AC98-D7522D3AFEC8}"/>
                </a:ext>
              </a:extLst>
            </p:cNvPr>
            <p:cNvSpPr txBox="1"/>
            <p:nvPr/>
          </p:nvSpPr>
          <p:spPr>
            <a:xfrm>
              <a:off x="2297087" y="4745058"/>
              <a:ext cx="3575731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ru-RU" sz="1600" b="1" dirty="0">
                  <a:solidFill>
                    <a:schemeClr val="bg1"/>
                  </a:solidFill>
                  <a:latin typeface="HelveticaNeueCyr" panose="02000503040000020004" pitchFamily="2" charset="-52"/>
                </a:rPr>
                <a:t>Клеточная оболочка бактерий</a:t>
              </a:r>
            </a:p>
            <a:p>
              <a:pPr algn="ctr"/>
              <a:r>
                <a:rPr lang="ru-RU" sz="1600" b="1" dirty="0">
                  <a:solidFill>
                    <a:schemeClr val="bg1"/>
                  </a:solidFill>
                  <a:latin typeface="HelveticaNeueCyr" panose="02000503040000020004" pitchFamily="2" charset="-52"/>
                </a:rPr>
                <a:t> обычного </a:t>
              </a:r>
              <a:r>
                <a:rPr lang="ru-RU" sz="1600" b="1" dirty="0" err="1">
                  <a:solidFill>
                    <a:schemeClr val="bg1"/>
                  </a:solidFill>
                  <a:latin typeface="HelveticaNeueCyr" panose="02000503040000020004" pitchFamily="2" charset="-52"/>
                </a:rPr>
                <a:t>инокулянта</a:t>
              </a:r>
              <a:endParaRPr lang="ru-RU" sz="1600" b="1" dirty="0">
                <a:solidFill>
                  <a:schemeClr val="bg1"/>
                </a:solidFill>
                <a:latin typeface="HelveticaNeueCyr" panose="02000503040000020004" pitchFamily="2" charset="-52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C95058C3-6B6F-438A-8792-23D1514FD730}"/>
                </a:ext>
              </a:extLst>
            </p:cNvPr>
            <p:cNvSpPr txBox="1"/>
            <p:nvPr/>
          </p:nvSpPr>
          <p:spPr>
            <a:xfrm>
              <a:off x="6238748" y="4745058"/>
              <a:ext cx="3575731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ru-RU" sz="1600" b="1" dirty="0">
                  <a:solidFill>
                    <a:schemeClr val="bg1"/>
                  </a:solidFill>
                  <a:latin typeface="HelveticaNeueCyr" panose="02000503040000020004" pitchFamily="2" charset="-52"/>
                </a:rPr>
                <a:t>Клеточная оболочка</a:t>
              </a:r>
            </a:p>
            <a:p>
              <a:pPr algn="ctr"/>
              <a:r>
                <a:rPr lang="ru-RU" sz="1600" b="1" dirty="0">
                  <a:solidFill>
                    <a:schemeClr val="bg1"/>
                  </a:solidFill>
                  <a:latin typeface="HelveticaNeueCyr" panose="02000503040000020004" pitchFamily="2" charset="-52"/>
                </a:rPr>
                <a:t>бактерий в АТУВА®</a:t>
              </a:r>
            </a:p>
          </p:txBody>
        </p:sp>
        <p:pic>
          <p:nvPicPr>
            <p:cNvPr id="33" name="Рисунок 32">
              <a:extLst>
                <a:ext uri="{FF2B5EF4-FFF2-40B4-BE49-F238E27FC236}">
                  <a16:creationId xmlns:a16="http://schemas.microsoft.com/office/drawing/2014/main" id="{7145140F-10AE-46B4-933C-0DA6A03EB8D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96577" y="2268760"/>
              <a:ext cx="7518415" cy="23124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958129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55E79C-202B-0C84-F481-1A11862B0F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12">
            <a:extLst>
              <a:ext uri="{FF2B5EF4-FFF2-40B4-BE49-F238E27FC236}">
                <a16:creationId xmlns:a16="http://schemas.microsoft.com/office/drawing/2014/main" id="{9F492D35-451B-B5D7-1AC1-59E6EC808581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457200" y="6400800"/>
            <a:ext cx="2065020" cy="2520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ts val="186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lassification:</a:t>
            </a:r>
            <a:r>
              <a:rPr kumimoji="0" sz="1000" b="0" i="0" u="none" strike="noStrike" kern="1200" cap="none" spc="-6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UBLIC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88E18834-1EFE-639F-8A82-90E423671ED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990600"/>
            <a:ext cx="12192000" cy="518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Задача – получить здоровые и дружные всходы, с заданной густотой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65DE26C-9157-53D4-DFEC-D125D6443384}"/>
              </a:ext>
            </a:extLst>
          </p:cNvPr>
          <p:cNvSpPr txBox="1"/>
          <p:nvPr/>
        </p:nvSpPr>
        <p:spPr>
          <a:xfrm>
            <a:off x="2532668" y="457200"/>
            <a:ext cx="96774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0 шагов к правильной инокуляции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DAADE23-A903-456E-BA83-2DDE8CD5E46D}"/>
              </a:ext>
            </a:extLst>
          </p:cNvPr>
          <p:cNvSpPr txBox="1"/>
          <p:nvPr/>
        </p:nvSpPr>
        <p:spPr>
          <a:xfrm>
            <a:off x="5520559" y="4871103"/>
            <a:ext cx="2304912" cy="7491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067" dirty="0">
                <a:latin typeface="Arial" panose="020B0604020202020204" pitchFamily="34" charset="0"/>
                <a:cs typeface="Arial" panose="020B0604020202020204" pitchFamily="34" charset="0"/>
              </a:rPr>
              <a:t>Учитывайте сроки  </a:t>
            </a:r>
          </a:p>
          <a:p>
            <a:r>
              <a:rPr lang="ru-RU" sz="1067" dirty="0">
                <a:latin typeface="Arial" panose="020B0604020202020204" pitchFamily="34" charset="0"/>
                <a:cs typeface="Arial" panose="020B0604020202020204" pitchFamily="34" charset="0"/>
              </a:rPr>
              <a:t>хранения семян, </a:t>
            </a:r>
          </a:p>
          <a:p>
            <a:r>
              <a:rPr lang="ru-RU" sz="1067" dirty="0">
                <a:latin typeface="Arial" panose="020B0604020202020204" pitchFamily="34" charset="0"/>
                <a:cs typeface="Arial" panose="020B0604020202020204" pitchFamily="34" charset="0"/>
              </a:rPr>
              <a:t>обрабо­танных </a:t>
            </a:r>
          </a:p>
          <a:p>
            <a:r>
              <a:rPr lang="ru-RU" sz="1067" dirty="0" err="1">
                <a:latin typeface="Arial" panose="020B0604020202020204" pitchFamily="34" charset="0"/>
                <a:cs typeface="Arial" panose="020B0604020202020204" pitchFamily="34" charset="0"/>
              </a:rPr>
              <a:t>инокулянтом</a:t>
            </a:r>
            <a:endParaRPr lang="ru-RU" sz="1067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F918C501-8295-4EFD-8A3F-88829CD48FB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1371600"/>
            <a:ext cx="10871223" cy="343408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C545448E-3F31-4107-BBBF-A18D4D9060E2}"/>
              </a:ext>
            </a:extLst>
          </p:cNvPr>
          <p:cNvSpPr txBox="1"/>
          <p:nvPr/>
        </p:nvSpPr>
        <p:spPr>
          <a:xfrm>
            <a:off x="749515" y="2505731"/>
            <a:ext cx="2079589" cy="5849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067" dirty="0">
                <a:latin typeface="Arial" panose="020B0604020202020204" pitchFamily="34" charset="0"/>
                <a:cs typeface="Arial" panose="020B0604020202020204" pitchFamily="34" charset="0"/>
              </a:rPr>
              <a:t>Проводите инокуляцию </a:t>
            </a:r>
          </a:p>
          <a:p>
            <a:r>
              <a:rPr lang="ru-RU" sz="1067" dirty="0">
                <a:latin typeface="Arial" panose="020B0604020202020204" pitchFamily="34" charset="0"/>
                <a:cs typeface="Arial" panose="020B0604020202020204" pitchFamily="34" charset="0"/>
              </a:rPr>
              <a:t>в тени: прямой солнечный  </a:t>
            </a:r>
          </a:p>
          <a:p>
            <a:r>
              <a:rPr lang="ru-RU" sz="1067" dirty="0">
                <a:latin typeface="Arial" panose="020B0604020202020204" pitchFamily="34" charset="0"/>
                <a:cs typeface="Arial" panose="020B0604020202020204" pitchFamily="34" charset="0"/>
              </a:rPr>
              <a:t>свет убивает бактерии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D9744D3-EB44-44C6-9DAD-FDA8FB796775}"/>
              </a:ext>
            </a:extLst>
          </p:cNvPr>
          <p:cNvSpPr txBox="1"/>
          <p:nvPr/>
        </p:nvSpPr>
        <p:spPr>
          <a:xfrm>
            <a:off x="2690942" y="2505730"/>
            <a:ext cx="2079589" cy="9133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067" dirty="0">
                <a:latin typeface="Arial" panose="020B0604020202020204" pitchFamily="34" charset="0"/>
                <a:cs typeface="Arial" panose="020B0604020202020204" pitchFamily="34" charset="0"/>
              </a:rPr>
              <a:t>Высевайте во влажную </a:t>
            </a:r>
          </a:p>
          <a:p>
            <a:r>
              <a:rPr lang="ru-RU" sz="1067" dirty="0">
                <a:latin typeface="Arial" panose="020B0604020202020204" pitchFamily="34" charset="0"/>
                <a:cs typeface="Arial" panose="020B0604020202020204" pitchFamily="34" charset="0"/>
              </a:rPr>
              <a:t>почву — это ключевой </a:t>
            </a:r>
          </a:p>
          <a:p>
            <a:r>
              <a:rPr lang="ru-RU" sz="1067" dirty="0">
                <a:latin typeface="Arial" panose="020B0604020202020204" pitchFamily="34" charset="0"/>
                <a:cs typeface="Arial" panose="020B0604020202020204" pitchFamily="34" charset="0"/>
              </a:rPr>
              <a:t>момент для  хорошего </a:t>
            </a:r>
          </a:p>
          <a:p>
            <a:r>
              <a:rPr lang="ru-RU" sz="1067" dirty="0">
                <a:latin typeface="Arial" panose="020B0604020202020204" pitchFamily="34" charset="0"/>
                <a:cs typeface="Arial" panose="020B0604020202020204" pitchFamily="34" charset="0"/>
              </a:rPr>
              <a:t>заселения бак­териями </a:t>
            </a:r>
          </a:p>
          <a:p>
            <a:r>
              <a:rPr lang="ru-RU" sz="1067" dirty="0">
                <a:latin typeface="Arial" panose="020B0604020202020204" pitchFamily="34" charset="0"/>
                <a:cs typeface="Arial" panose="020B0604020202020204" pitchFamily="34" charset="0"/>
              </a:rPr>
              <a:t>корневой системы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F982402-E66F-40C5-98F9-26D69DC019AB}"/>
              </a:ext>
            </a:extLst>
          </p:cNvPr>
          <p:cNvSpPr txBox="1"/>
          <p:nvPr/>
        </p:nvSpPr>
        <p:spPr>
          <a:xfrm>
            <a:off x="4592644" y="2505730"/>
            <a:ext cx="2168273" cy="9133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067" dirty="0">
                <a:latin typeface="Arial" panose="020B0604020202020204" pitchFamily="34" charset="0"/>
                <a:cs typeface="Arial" panose="020B0604020202020204" pitchFamily="34" charset="0"/>
              </a:rPr>
              <a:t>Если добавляется вода,</a:t>
            </a:r>
          </a:p>
          <a:p>
            <a:r>
              <a:rPr lang="ru-RU" sz="1067" dirty="0">
                <a:latin typeface="Arial" panose="020B0604020202020204" pitchFamily="34" charset="0"/>
                <a:cs typeface="Arial" panose="020B0604020202020204" pitchFamily="34" charset="0"/>
              </a:rPr>
              <a:t>она не должна содержать </a:t>
            </a:r>
          </a:p>
          <a:p>
            <a:r>
              <a:rPr lang="ru-RU" sz="1067" dirty="0">
                <a:latin typeface="Arial" panose="020B0604020202020204" pitchFamily="34" charset="0"/>
                <a:cs typeface="Arial" panose="020B0604020202020204" pitchFamily="34" charset="0"/>
              </a:rPr>
              <a:t>антисепти­ки (хлор, средства </a:t>
            </a:r>
          </a:p>
          <a:p>
            <a:r>
              <a:rPr lang="ru-RU" sz="1067" dirty="0">
                <a:latin typeface="Arial" panose="020B0604020202020204" pitchFamily="34" charset="0"/>
                <a:cs typeface="Arial" panose="020B0604020202020204" pitchFamily="34" charset="0"/>
              </a:rPr>
              <a:t>от водорослей или любой </a:t>
            </a:r>
          </a:p>
          <a:p>
            <a:r>
              <a:rPr lang="ru-RU" sz="1067" dirty="0">
                <a:latin typeface="Arial" panose="020B0604020202020204" pitchFamily="34" charset="0"/>
                <a:cs typeface="Arial" panose="020B0604020202020204" pitchFamily="34" charset="0"/>
              </a:rPr>
              <a:t>другой бактерицид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09FD53E-6713-4BBE-9AA6-7A1B3DC162FB}"/>
              </a:ext>
            </a:extLst>
          </p:cNvPr>
          <p:cNvSpPr txBox="1"/>
          <p:nvPr/>
        </p:nvSpPr>
        <p:spPr>
          <a:xfrm>
            <a:off x="6658427" y="2505731"/>
            <a:ext cx="1688763" cy="12418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067" dirty="0">
                <a:latin typeface="Arial" panose="020B0604020202020204" pitchFamily="34" charset="0"/>
                <a:cs typeface="Arial" panose="020B0604020202020204" pitchFamily="34" charset="0"/>
              </a:rPr>
              <a:t>Используйте только </a:t>
            </a:r>
          </a:p>
          <a:p>
            <a:r>
              <a:rPr lang="ru-RU" sz="1067" dirty="0">
                <a:latin typeface="Arial" panose="020B0604020202020204" pitchFamily="34" charset="0"/>
                <a:cs typeface="Arial" panose="020B0604020202020204" pitchFamily="34" charset="0"/>
              </a:rPr>
              <a:t>разрешен­ные для </a:t>
            </a:r>
          </a:p>
          <a:p>
            <a:r>
              <a:rPr lang="ru-RU" sz="1067" dirty="0">
                <a:latin typeface="Arial" panose="020B0604020202020204" pitchFamily="34" charset="0"/>
                <a:cs typeface="Arial" panose="020B0604020202020204" pitchFamily="34" charset="0"/>
              </a:rPr>
              <a:t>совместного </a:t>
            </a:r>
            <a:r>
              <a:rPr lang="ru-RU" sz="1067" dirty="0" err="1">
                <a:latin typeface="Arial" panose="020B0604020202020204" pitchFamily="34" charset="0"/>
                <a:cs typeface="Arial" panose="020B0604020202020204" pitchFamily="34" charset="0"/>
              </a:rPr>
              <a:t>исполь</a:t>
            </a:r>
            <a:r>
              <a:rPr lang="ru-RU" sz="1067" dirty="0"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</a:p>
          <a:p>
            <a:r>
              <a:rPr lang="ru-RU" sz="1067" dirty="0">
                <a:latin typeface="Arial" panose="020B0604020202020204" pitchFamily="34" charset="0"/>
                <a:cs typeface="Arial" panose="020B0604020202020204" pitchFamily="34" charset="0"/>
              </a:rPr>
              <a:t>­</a:t>
            </a:r>
            <a:r>
              <a:rPr lang="ru-RU" sz="1067" dirty="0" err="1">
                <a:latin typeface="Arial" panose="020B0604020202020204" pitchFamily="34" charset="0"/>
                <a:cs typeface="Arial" panose="020B0604020202020204" pitchFamily="34" charset="0"/>
              </a:rPr>
              <a:t>зования</a:t>
            </a:r>
            <a:r>
              <a:rPr lang="ru-RU" sz="1067" dirty="0">
                <a:latin typeface="Arial" panose="020B0604020202020204" pitchFamily="34" charset="0"/>
                <a:cs typeface="Arial" panose="020B0604020202020204" pitchFamily="34" charset="0"/>
              </a:rPr>
              <a:t> с </a:t>
            </a:r>
            <a:r>
              <a:rPr lang="ru-RU" sz="1067" dirty="0" err="1">
                <a:latin typeface="Arial" panose="020B0604020202020204" pitchFamily="34" charset="0"/>
                <a:cs typeface="Arial" panose="020B0604020202020204" pitchFamily="34" charset="0"/>
              </a:rPr>
              <a:t>инокулянтом</a:t>
            </a:r>
            <a:r>
              <a:rPr lang="ru-RU" sz="1067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ru-RU" sz="1067" dirty="0">
                <a:latin typeface="Arial" panose="020B0604020202020204" pitchFamily="34" charset="0"/>
                <a:cs typeface="Arial" panose="020B0604020202020204" pitchFamily="34" charset="0"/>
              </a:rPr>
              <a:t>АТУВА® химические </a:t>
            </a:r>
          </a:p>
          <a:p>
            <a:r>
              <a:rPr lang="ru-RU" sz="1067" dirty="0">
                <a:latin typeface="Arial" panose="020B0604020202020204" pitchFamily="34" charset="0"/>
                <a:cs typeface="Arial" panose="020B0604020202020204" pitchFamily="34" charset="0"/>
              </a:rPr>
              <a:t>препараты для защиты </a:t>
            </a:r>
          </a:p>
          <a:p>
            <a:r>
              <a:rPr lang="ru-RU" sz="1067" dirty="0">
                <a:latin typeface="Arial" panose="020B0604020202020204" pitchFamily="34" charset="0"/>
                <a:cs typeface="Arial" panose="020B0604020202020204" pitchFamily="34" charset="0"/>
              </a:rPr>
              <a:t>семян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B3FC2F1-274B-4B0A-AD47-DC8CBEC2628C}"/>
              </a:ext>
            </a:extLst>
          </p:cNvPr>
          <p:cNvSpPr txBox="1"/>
          <p:nvPr/>
        </p:nvSpPr>
        <p:spPr>
          <a:xfrm>
            <a:off x="8365484" y="2505731"/>
            <a:ext cx="2445455" cy="9133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067" dirty="0">
                <a:latin typeface="Arial" panose="020B0604020202020204" pitchFamily="34" charset="0"/>
                <a:cs typeface="Arial" panose="020B0604020202020204" pitchFamily="34" charset="0"/>
              </a:rPr>
              <a:t>Использование большинства  </a:t>
            </a:r>
          </a:p>
          <a:p>
            <a:r>
              <a:rPr lang="ru-RU" sz="1067" dirty="0">
                <a:latin typeface="Arial" panose="020B0604020202020204" pitchFamily="34" charset="0"/>
                <a:cs typeface="Arial" panose="020B0604020202020204" pitchFamily="34" charset="0"/>
              </a:rPr>
              <a:t>микроэлементов при совместной</a:t>
            </a:r>
          </a:p>
          <a:p>
            <a:r>
              <a:rPr lang="ru-RU" sz="1067" dirty="0">
                <a:latin typeface="Arial" panose="020B0604020202020204" pitchFamily="34" charset="0"/>
                <a:cs typeface="Arial" panose="020B0604020202020204" pitchFamily="34" charset="0"/>
              </a:rPr>
              <a:t>обработке  семян значительно </a:t>
            </a:r>
          </a:p>
          <a:p>
            <a:r>
              <a:rPr lang="ru-RU" sz="1067" dirty="0">
                <a:latin typeface="Arial" panose="020B0604020202020204" pitchFamily="34" charset="0"/>
                <a:cs typeface="Arial" panose="020B0604020202020204" pitchFamily="34" charset="0"/>
              </a:rPr>
              <a:t>снижает период жизни бактерий </a:t>
            </a:r>
          </a:p>
          <a:p>
            <a:r>
              <a:rPr lang="ru-RU" sz="1067" dirty="0">
                <a:latin typeface="Arial" panose="020B0604020202020204" pitchFamily="34" charset="0"/>
                <a:cs typeface="Arial" panose="020B0604020202020204" pitchFamily="34" charset="0"/>
              </a:rPr>
              <a:t>на обработанных семенах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49196E6-741C-4274-A741-D185BEFF1A87}"/>
              </a:ext>
            </a:extLst>
          </p:cNvPr>
          <p:cNvSpPr txBox="1"/>
          <p:nvPr/>
        </p:nvSpPr>
        <p:spPr>
          <a:xfrm>
            <a:off x="732072" y="4871103"/>
            <a:ext cx="2451444" cy="10776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067" dirty="0">
                <a:latin typeface="Arial" panose="020B0604020202020204" pitchFamily="34" charset="0"/>
                <a:cs typeface="Arial" panose="020B0604020202020204" pitchFamily="34" charset="0"/>
              </a:rPr>
              <a:t>Использование </a:t>
            </a:r>
            <a:r>
              <a:rPr lang="ru-RU" sz="1067" dirty="0" err="1">
                <a:latin typeface="Arial" panose="020B0604020202020204" pitchFamily="34" charset="0"/>
                <a:cs typeface="Arial" panose="020B0604020202020204" pitchFamily="34" charset="0"/>
              </a:rPr>
              <a:t>экстендера</a:t>
            </a:r>
            <a:r>
              <a:rPr lang="ru-RU" sz="1067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</a:p>
          <a:p>
            <a:r>
              <a:rPr lang="ru-RU" sz="1067" dirty="0">
                <a:latin typeface="Arial" panose="020B0604020202020204" pitchFamily="34" charset="0"/>
                <a:cs typeface="Arial" panose="020B0604020202020204" pitchFamily="34" charset="0"/>
              </a:rPr>
              <a:t>ПРЕМАКС улучшит выживаемость  </a:t>
            </a:r>
          </a:p>
          <a:p>
            <a:r>
              <a:rPr lang="ru-RU" sz="1067" dirty="0">
                <a:latin typeface="Arial" panose="020B0604020202020204" pitchFamily="34" charset="0"/>
                <a:cs typeface="Arial" panose="020B0604020202020204" pitchFamily="34" charset="0"/>
              </a:rPr>
              <a:t>бактерий даже при </a:t>
            </a:r>
            <a:r>
              <a:rPr lang="ru-RU" sz="1067" dirty="0" err="1">
                <a:latin typeface="Arial" panose="020B0604020202020204" pitchFamily="34" charset="0"/>
                <a:cs typeface="Arial" panose="020B0604020202020204" pitchFamily="34" charset="0"/>
              </a:rPr>
              <a:t>неблагоприят</a:t>
            </a:r>
            <a:r>
              <a:rPr lang="ru-RU" sz="1067" dirty="0"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</a:p>
          <a:p>
            <a:r>
              <a:rPr lang="ru-RU" sz="1067" dirty="0">
                <a:latin typeface="Arial" panose="020B0604020202020204" pitchFamily="34" charset="0"/>
                <a:cs typeface="Arial" panose="020B0604020202020204" pitchFamily="34" charset="0"/>
              </a:rPr>
              <a:t>­</a:t>
            </a:r>
            <a:r>
              <a:rPr lang="ru-RU" sz="1067" dirty="0" err="1">
                <a:latin typeface="Arial" panose="020B0604020202020204" pitchFamily="34" charset="0"/>
                <a:cs typeface="Arial" panose="020B0604020202020204" pitchFamily="34" charset="0"/>
              </a:rPr>
              <a:t>ных</a:t>
            </a:r>
            <a:r>
              <a:rPr lang="ru-RU" sz="1067" dirty="0">
                <a:latin typeface="Arial" panose="020B0604020202020204" pitchFamily="34" charset="0"/>
                <a:cs typeface="Arial" panose="020B0604020202020204" pitchFamily="34" charset="0"/>
              </a:rPr>
              <a:t> условиях (дефицит воды,  </a:t>
            </a:r>
          </a:p>
          <a:p>
            <a:r>
              <a:rPr lang="ru-RU" sz="1067" dirty="0">
                <a:latin typeface="Arial" panose="020B0604020202020204" pitchFamily="34" charset="0"/>
                <a:cs typeface="Arial" panose="020B0604020202020204" pitchFamily="34" charset="0"/>
              </a:rPr>
              <a:t>высокие температуры, химические  </a:t>
            </a:r>
          </a:p>
          <a:p>
            <a:r>
              <a:rPr lang="ru-RU" sz="1067" dirty="0">
                <a:latin typeface="Arial" panose="020B0604020202020204" pitchFamily="34" charset="0"/>
                <a:cs typeface="Arial" panose="020B0604020202020204" pitchFamily="34" charset="0"/>
              </a:rPr>
              <a:t>препараты и т. д.)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56A6792-6C2E-4FA2-BA1E-CE75F61077E8}"/>
              </a:ext>
            </a:extLst>
          </p:cNvPr>
          <p:cNvSpPr txBox="1"/>
          <p:nvPr/>
        </p:nvSpPr>
        <p:spPr>
          <a:xfrm>
            <a:off x="3464754" y="4871102"/>
            <a:ext cx="2121224" cy="7491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067" dirty="0">
                <a:latin typeface="Arial" panose="020B0604020202020204" pitchFamily="34" charset="0"/>
                <a:cs typeface="Arial" panose="020B0604020202020204" pitchFamily="34" charset="0"/>
              </a:rPr>
              <a:t>Вскрытый </a:t>
            </a:r>
            <a:r>
              <a:rPr lang="ru-RU" sz="1067" dirty="0" err="1">
                <a:latin typeface="Arial" panose="020B0604020202020204" pitchFamily="34" charset="0"/>
                <a:cs typeface="Arial" panose="020B0604020202020204" pitchFamily="34" charset="0"/>
              </a:rPr>
              <a:t>инокулянт</a:t>
            </a:r>
            <a:r>
              <a:rPr lang="ru-RU" sz="1067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ru-RU" sz="1067" dirty="0">
                <a:latin typeface="Arial" panose="020B0604020202020204" pitchFamily="34" charset="0"/>
                <a:cs typeface="Arial" panose="020B0604020202020204" pitchFamily="34" charset="0"/>
              </a:rPr>
              <a:t>АТУВА® следует </a:t>
            </a:r>
          </a:p>
          <a:p>
            <a:r>
              <a:rPr lang="ru-RU" sz="1067" dirty="0">
                <a:latin typeface="Arial" panose="020B0604020202020204" pitchFamily="34" charset="0"/>
                <a:cs typeface="Arial" panose="020B0604020202020204" pitchFamily="34" charset="0"/>
              </a:rPr>
              <a:t>полностью исполь­зовать </a:t>
            </a:r>
          </a:p>
          <a:p>
            <a:r>
              <a:rPr lang="ru-RU" sz="1067" dirty="0">
                <a:latin typeface="Arial" panose="020B0604020202020204" pitchFamily="34" charset="0"/>
                <a:cs typeface="Arial" panose="020B0604020202020204" pitchFamily="34" charset="0"/>
              </a:rPr>
              <a:t>в тот же день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36B447E-8E48-4A9D-ADF5-202DD07F664F}"/>
              </a:ext>
            </a:extLst>
          </p:cNvPr>
          <p:cNvSpPr txBox="1"/>
          <p:nvPr/>
        </p:nvSpPr>
        <p:spPr>
          <a:xfrm>
            <a:off x="7454806" y="4871103"/>
            <a:ext cx="2214195" cy="10776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067" dirty="0">
                <a:latin typeface="Arial" panose="020B0604020202020204" pitchFamily="34" charset="0"/>
                <a:cs typeface="Arial" panose="020B0604020202020204" pitchFamily="34" charset="0"/>
              </a:rPr>
              <a:t>Храните препарат</a:t>
            </a:r>
          </a:p>
          <a:p>
            <a:r>
              <a:rPr lang="ru-RU" sz="1067" dirty="0">
                <a:latin typeface="Arial" panose="020B0604020202020204" pitchFamily="34" charset="0"/>
                <a:cs typeface="Arial" panose="020B0604020202020204" pitchFamily="34" charset="0"/>
              </a:rPr>
              <a:t>в прохладном месте,  </a:t>
            </a:r>
          </a:p>
          <a:p>
            <a:r>
              <a:rPr lang="ru-RU" sz="1067" dirty="0">
                <a:latin typeface="Arial" panose="020B0604020202020204" pitchFamily="34" charset="0"/>
                <a:cs typeface="Arial" panose="020B0604020202020204" pitchFamily="34" charset="0"/>
              </a:rPr>
              <a:t>без доступа прямых  </a:t>
            </a:r>
          </a:p>
          <a:p>
            <a:r>
              <a:rPr lang="ru-RU" sz="1067" dirty="0">
                <a:latin typeface="Arial" panose="020B0604020202020204" pitchFamily="34" charset="0"/>
                <a:cs typeface="Arial" panose="020B0604020202020204" pitchFamily="34" charset="0"/>
              </a:rPr>
              <a:t>солнечных лучей, при  </a:t>
            </a:r>
          </a:p>
          <a:p>
            <a:r>
              <a:rPr lang="ru-RU" sz="1067" dirty="0">
                <a:latin typeface="Arial" panose="020B0604020202020204" pitchFamily="34" charset="0"/>
                <a:cs typeface="Arial" panose="020B0604020202020204" pitchFamily="34" charset="0"/>
              </a:rPr>
              <a:t>температуре не выше  </a:t>
            </a:r>
          </a:p>
          <a:p>
            <a:r>
              <a:rPr lang="ru-RU" sz="1067" dirty="0">
                <a:latin typeface="Arial" panose="020B0604020202020204" pitchFamily="34" charset="0"/>
                <a:cs typeface="Arial" panose="020B0604020202020204" pitchFamily="34" charset="0"/>
              </a:rPr>
              <a:t>+25 °C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7A8E54A-7EA1-4B95-8796-600BA1E40A1D}"/>
              </a:ext>
            </a:extLst>
          </p:cNvPr>
          <p:cNvSpPr txBox="1"/>
          <p:nvPr/>
        </p:nvSpPr>
        <p:spPr>
          <a:xfrm>
            <a:off x="838199" y="3697051"/>
            <a:ext cx="538405" cy="379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67" b="1" dirty="0"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AC19520-B673-424A-90DA-B241286FD484}"/>
              </a:ext>
            </a:extLst>
          </p:cNvPr>
          <p:cNvSpPr txBox="1"/>
          <p:nvPr/>
        </p:nvSpPr>
        <p:spPr>
          <a:xfrm>
            <a:off x="3213556" y="3697050"/>
            <a:ext cx="469132" cy="379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67" b="1" dirty="0"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F1776DE-5CF6-4F30-8BC5-1BA09F4EE41A}"/>
              </a:ext>
            </a:extLst>
          </p:cNvPr>
          <p:cNvSpPr txBox="1"/>
          <p:nvPr/>
        </p:nvSpPr>
        <p:spPr>
          <a:xfrm>
            <a:off x="5274914" y="3697050"/>
            <a:ext cx="469132" cy="379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67" b="1" dirty="0"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D2F3AF9-7ACA-4476-882C-60CEB30C05E9}"/>
              </a:ext>
            </a:extLst>
          </p:cNvPr>
          <p:cNvSpPr txBox="1"/>
          <p:nvPr/>
        </p:nvSpPr>
        <p:spPr>
          <a:xfrm>
            <a:off x="7341216" y="3697050"/>
            <a:ext cx="469132" cy="379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67" b="1" dirty="0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7B31CB6-9D23-44DA-BD49-410DD8805B78}"/>
              </a:ext>
            </a:extLst>
          </p:cNvPr>
          <p:cNvSpPr txBox="1"/>
          <p:nvPr/>
        </p:nvSpPr>
        <p:spPr>
          <a:xfrm>
            <a:off x="10984712" y="2883457"/>
            <a:ext cx="469132" cy="379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67" b="1" dirty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774BEB1-F105-4AE4-8EB3-0FE82B3ED6A3}"/>
              </a:ext>
            </a:extLst>
          </p:cNvPr>
          <p:cNvSpPr txBox="1"/>
          <p:nvPr/>
        </p:nvSpPr>
        <p:spPr>
          <a:xfrm>
            <a:off x="2829105" y="1371599"/>
            <a:ext cx="469132" cy="379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67" b="1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E00543E-9AFC-4300-86EF-19DF231F1CAF}"/>
              </a:ext>
            </a:extLst>
          </p:cNvPr>
          <p:cNvSpPr txBox="1"/>
          <p:nvPr/>
        </p:nvSpPr>
        <p:spPr>
          <a:xfrm>
            <a:off x="838200" y="1371599"/>
            <a:ext cx="469132" cy="379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67" b="1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EA45B66-B3A7-40B8-A755-F502F8015613}"/>
              </a:ext>
            </a:extLst>
          </p:cNvPr>
          <p:cNvSpPr txBox="1"/>
          <p:nvPr/>
        </p:nvSpPr>
        <p:spPr>
          <a:xfrm>
            <a:off x="4848186" y="1371598"/>
            <a:ext cx="469132" cy="379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67" b="1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F0374FC-E06B-4B5E-8D4E-3EBE657D82B3}"/>
              </a:ext>
            </a:extLst>
          </p:cNvPr>
          <p:cNvSpPr txBox="1"/>
          <p:nvPr/>
        </p:nvSpPr>
        <p:spPr>
          <a:xfrm>
            <a:off x="6690465" y="1384727"/>
            <a:ext cx="469132" cy="379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67" b="1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AE11DF1-3CC3-40D1-87F6-E9C016C178F6}"/>
              </a:ext>
            </a:extLst>
          </p:cNvPr>
          <p:cNvSpPr txBox="1"/>
          <p:nvPr/>
        </p:nvSpPr>
        <p:spPr>
          <a:xfrm>
            <a:off x="8446804" y="1413235"/>
            <a:ext cx="469132" cy="379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67" b="1" dirty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5B87526-7D7D-4961-8CBD-0982E38AD5B7}"/>
              </a:ext>
            </a:extLst>
          </p:cNvPr>
          <p:cNvSpPr txBox="1"/>
          <p:nvPr/>
        </p:nvSpPr>
        <p:spPr>
          <a:xfrm>
            <a:off x="9377582" y="4871102"/>
            <a:ext cx="2214195" cy="12418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067" dirty="0">
                <a:latin typeface="Arial" panose="020B0604020202020204" pitchFamily="34" charset="0"/>
                <a:cs typeface="Arial" panose="020B0604020202020204" pitchFamily="34" charset="0"/>
              </a:rPr>
              <a:t>Используйте </a:t>
            </a:r>
            <a:r>
              <a:rPr lang="ru-RU" sz="1067" dirty="0" err="1">
                <a:latin typeface="Arial" panose="020B0604020202020204" pitchFamily="34" charset="0"/>
                <a:cs typeface="Arial" panose="020B0604020202020204" pitchFamily="34" charset="0"/>
              </a:rPr>
              <a:t>инокулянт</a:t>
            </a:r>
            <a:r>
              <a:rPr lang="ru-RU" sz="1067" dirty="0">
                <a:latin typeface="Arial" panose="020B0604020202020204" pitchFamily="34" charset="0"/>
                <a:cs typeface="Arial" panose="020B0604020202020204" pitchFamily="34" charset="0"/>
              </a:rPr>
              <a:t> АТУВА®  </a:t>
            </a:r>
          </a:p>
          <a:p>
            <a:r>
              <a:rPr lang="ru-RU" sz="1067" dirty="0">
                <a:latin typeface="Arial" panose="020B0604020202020204" pitchFamily="34" charset="0"/>
                <a:cs typeface="Arial" panose="020B0604020202020204" pitchFamily="34" charset="0"/>
              </a:rPr>
              <a:t>только с актуальным сроком  </a:t>
            </a:r>
          </a:p>
          <a:p>
            <a:r>
              <a:rPr lang="ru-RU" sz="1067" dirty="0">
                <a:latin typeface="Arial" panose="020B0604020202020204" pitchFamily="34" charset="0"/>
                <a:cs typeface="Arial" panose="020B0604020202020204" pitchFamily="34" charset="0"/>
              </a:rPr>
              <a:t>годности для достижения </a:t>
            </a:r>
          </a:p>
          <a:p>
            <a:r>
              <a:rPr lang="ru-RU" sz="1067" dirty="0">
                <a:latin typeface="Arial" panose="020B0604020202020204" pitchFamily="34" charset="0"/>
                <a:cs typeface="Arial" panose="020B0604020202020204" pitchFamily="34" charset="0"/>
              </a:rPr>
              <a:t>высокой концентрации </a:t>
            </a:r>
          </a:p>
          <a:p>
            <a:r>
              <a:rPr lang="ru-RU" sz="1067" dirty="0">
                <a:latin typeface="Arial" panose="020B0604020202020204" pitchFamily="34" charset="0"/>
                <a:cs typeface="Arial" panose="020B0604020202020204" pitchFamily="34" charset="0"/>
              </a:rPr>
              <a:t>необходимых штаммов </a:t>
            </a:r>
          </a:p>
          <a:p>
            <a:r>
              <a:rPr lang="ru-RU" sz="1067" dirty="0">
                <a:latin typeface="Arial" panose="020B0604020202020204" pitchFamily="34" charset="0"/>
                <a:cs typeface="Arial" panose="020B0604020202020204" pitchFamily="34" charset="0"/>
              </a:rPr>
              <a:t>бактерий</a:t>
            </a:r>
          </a:p>
        </p:txBody>
      </p:sp>
    </p:spTree>
    <p:extLst>
      <p:ext uri="{BB962C8B-B14F-4D97-AF65-F5344CB8AC3E}">
        <p14:creationId xmlns:p14="http://schemas.microsoft.com/office/powerpoint/2010/main" val="39403031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IRAVIS Master Template">
  <a:themeElements>
    <a:clrScheme name="MIRAVIS DUO">
      <a:dk1>
        <a:srgbClr val="6D6E71"/>
      </a:dk1>
      <a:lt1>
        <a:srgbClr val="FFFFFF"/>
      </a:lt1>
      <a:dk2>
        <a:srgbClr val="0071CE"/>
      </a:dk2>
      <a:lt2>
        <a:srgbClr val="78BD20"/>
      </a:lt2>
      <a:accent1>
        <a:srgbClr val="009439"/>
      </a:accent1>
      <a:accent2>
        <a:srgbClr val="0072CE"/>
      </a:accent2>
      <a:accent3>
        <a:srgbClr val="00AB83"/>
      </a:accent3>
      <a:accent4>
        <a:srgbClr val="9B26B6"/>
      </a:accent4>
      <a:accent5>
        <a:srgbClr val="FF585D"/>
      </a:accent5>
      <a:accent6>
        <a:srgbClr val="9BCBEB"/>
      </a:accent6>
      <a:hlink>
        <a:srgbClr val="FF2F92"/>
      </a:hlink>
      <a:folHlink>
        <a:srgbClr val="9437FF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ynBrand_PP_MasterTemplate.potx" id="{7B76BECC-97AA-40CD-9211-71BD4964D510}" vid="{321B2F3C-3440-4DB8-82F1-37BB7D24A40D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Inform">
  <a:themeElements>
    <a:clrScheme name="Syngenta VI">
      <a:dk1>
        <a:srgbClr val="000000"/>
      </a:dk1>
      <a:lt1>
        <a:srgbClr val="FFFFFF"/>
      </a:lt1>
      <a:dk2>
        <a:srgbClr val="7FCA3F"/>
      </a:dk2>
      <a:lt2>
        <a:srgbClr val="00CFCD"/>
      </a:lt2>
      <a:accent1>
        <a:srgbClr val="FFBA00"/>
      </a:accent1>
      <a:accent2>
        <a:srgbClr val="FB4593"/>
      </a:accent2>
      <a:accent3>
        <a:srgbClr val="00A0BE"/>
      </a:accent3>
      <a:accent4>
        <a:srgbClr val="5F7800"/>
      </a:accent4>
      <a:accent5>
        <a:srgbClr val="EB8200"/>
      </a:accent5>
      <a:accent6>
        <a:srgbClr val="AB2E78"/>
      </a:accent6>
      <a:hlink>
        <a:srgbClr val="FB4593"/>
      </a:hlink>
      <a:folHlink>
        <a:srgbClr val="000000"/>
      </a:folHlink>
    </a:clrScheme>
    <a:fontScheme name="Syngent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>
          <a:noFill/>
        </a:ln>
      </a:spPr>
      <a:bodyPr rtlCol="0" anchor="ctr"/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 marL="292608" indent="-292608" algn="l">
          <a:spcBef>
            <a:spcPts val="600"/>
          </a:spcBef>
          <a:buFont typeface="Arial" panose="020B0604020202020204" pitchFamily="34" charset="0"/>
          <a:buChar char="●"/>
          <a:defRPr sz="1400" dirty="0" err="1" smtClean="0"/>
        </a:defPPr>
      </a:lstStyle>
    </a:txDef>
  </a:objectDefaults>
  <a:extraClrSchemeLst/>
  <a:custClrLst>
    <a:custClr name="Dark Blue">
      <a:srgbClr val="334C56"/>
    </a:custClr>
    <a:custClr name="Dark Green">
      <a:srgbClr val="264600"/>
    </a:custClr>
    <a:custClr name="Dark Orange">
      <a:srgbClr val="BA2C00"/>
    </a:custClr>
    <a:custClr name="Dark Red">
      <a:srgbClr val="6F0055"/>
    </a:custClr>
    <a:custClr name="Custom Color 5">
      <a:srgbClr val="FFFFFF"/>
    </a:custClr>
    <a:custClr name="Custom Color 6">
      <a:srgbClr val="FFFFFF"/>
    </a:custClr>
    <a:custClr name="Custom Color 7">
      <a:srgbClr val="FFFFFF"/>
    </a:custClr>
    <a:custClr name="Custom Color 8">
      <a:srgbClr val="FFFFFF"/>
    </a:custClr>
    <a:custClr name="Custom Color 9">
      <a:srgbClr val="FFFFFF"/>
    </a:custClr>
    <a:custClr name="Custom Color 10">
      <a:srgbClr val="FFFFFF"/>
    </a:custClr>
    <a:custClr name="Light Blue">
      <a:srgbClr val="00E6BE"/>
    </a:custClr>
    <a:custClr name="Light Green">
      <a:srgbClr val="50E600"/>
    </a:custClr>
    <a:custClr name="Light Orange">
      <a:srgbClr val="FCE500"/>
    </a:custClr>
    <a:custClr name="Light Red">
      <a:srgbClr val="FF0064"/>
    </a:custClr>
    <a:custClr name="Custom Color 15">
      <a:srgbClr val="FFFFFF"/>
    </a:custClr>
    <a:custClr name="Custom Color 16">
      <a:srgbClr val="FFFFFF"/>
    </a:custClr>
    <a:custClr name="Custom Color 17">
      <a:srgbClr val="FFFFFF"/>
    </a:custClr>
    <a:custClr name="Custom Color 18">
      <a:srgbClr val="FFFFFF"/>
    </a:custClr>
    <a:custClr name="Custom Color 19">
      <a:srgbClr val="FFFFFF"/>
    </a:custClr>
    <a:custClr name="Custom Color 20">
      <a:srgbClr val="FFFFFF"/>
    </a:custClr>
  </a:custClrLst>
  <a:extLst>
    <a:ext uri="{05A4C25C-085E-4340-85A3-A5531E510DB2}">
      <thm15:themeFamily xmlns:thm15="http://schemas.microsoft.com/office/thememl/2012/main" name="Syngenta Master Template 16x9-optimised.potx  -  Read-Only" id="{F4DF03AC-5A56-4BE9-B56C-2DE81DBDDEF0}" vid="{A2E762B0-067A-492C-A524-5A7B73AD2BC7}"/>
    </a:ext>
  </a:extLst>
</a:theme>
</file>

<file path=ppt/theme/theme4.xml><?xml version="1.0" encoding="utf-8"?>
<a:theme xmlns:a="http://schemas.openxmlformats.org/drawingml/2006/main" name="2007 New Powerpoint_template">
  <a:themeElements>
    <a:clrScheme name="Custom 8">
      <a:dk1>
        <a:srgbClr val="6D6E71"/>
      </a:dk1>
      <a:lt1>
        <a:srgbClr val="FFFFFF"/>
      </a:lt1>
      <a:dk2>
        <a:srgbClr val="7AB800"/>
      </a:dk2>
      <a:lt2>
        <a:srgbClr val="D67C1C"/>
      </a:lt2>
      <a:accent1>
        <a:srgbClr val="C0CE2E"/>
      </a:accent1>
      <a:accent2>
        <a:srgbClr val="5EA443"/>
      </a:accent2>
      <a:accent3>
        <a:srgbClr val="049CAF"/>
      </a:accent3>
      <a:accent4>
        <a:srgbClr val="1969A5"/>
      </a:accent4>
      <a:accent5>
        <a:srgbClr val="8F5A28"/>
      </a:accent5>
      <a:accent6>
        <a:srgbClr val="7E3783"/>
      </a:accent6>
      <a:hlink>
        <a:srgbClr val="1969A5"/>
      </a:hlink>
      <a:folHlink>
        <a:srgbClr val="EEC216"/>
      </a:folHlink>
    </a:clrScheme>
    <a:fontScheme name="Printout Syngenta 200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6350" cap="flat" cmpd="sng" algn="ctr">
          <a:solidFill>
            <a:schemeClr val="folHlink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ts val="600"/>
          </a:spcAft>
          <a:buClrTx/>
          <a:buSzTx/>
          <a:buFontTx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6350" cap="flat" cmpd="sng" algn="ctr">
          <a:solidFill>
            <a:schemeClr val="folHlink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ts val="600"/>
          </a:spcAft>
          <a:buClrTx/>
          <a:buSzTx/>
          <a:buFontTx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normAutofit/>
      </a:bodyPr>
      <a:lstStyle>
        <a:defPPr>
          <a:spcBef>
            <a:spcPts val="0"/>
          </a:spcBef>
          <a:spcAft>
            <a:spcPts val="600"/>
          </a:spcAft>
          <a:defRPr sz="2000" dirty="0" err="1" smtClean="0"/>
        </a:defPPr>
      </a:lstStyle>
    </a:txDef>
  </a:objectDefaults>
  <a:extraClrSchemeLst/>
</a:theme>
</file>

<file path=ppt/theme/theme5.xml><?xml version="1.0" encoding="utf-8"?>
<a:theme xmlns:a="http://schemas.openxmlformats.org/drawingml/2006/main" name="Inform">
  <a:themeElements>
    <a:clrScheme name="Custom 4">
      <a:dk1>
        <a:srgbClr val="000000"/>
      </a:dk1>
      <a:lt1>
        <a:srgbClr val="FFFFFF"/>
      </a:lt1>
      <a:dk2>
        <a:srgbClr val="7FCA3F"/>
      </a:dk2>
      <a:lt2>
        <a:srgbClr val="00CFCD"/>
      </a:lt2>
      <a:accent1>
        <a:srgbClr val="FFBA00"/>
      </a:accent1>
      <a:accent2>
        <a:srgbClr val="FB4593"/>
      </a:accent2>
      <a:accent3>
        <a:srgbClr val="00A0BE"/>
      </a:accent3>
      <a:accent4>
        <a:srgbClr val="5F7800"/>
      </a:accent4>
      <a:accent5>
        <a:srgbClr val="EB8200"/>
      </a:accent5>
      <a:accent6>
        <a:srgbClr val="AB2E78"/>
      </a:accent6>
      <a:hlink>
        <a:srgbClr val="FB4593"/>
      </a:hlink>
      <a:folHlink>
        <a:srgbClr val="000000"/>
      </a:folHlink>
    </a:clrScheme>
    <a:fontScheme name="Syngent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rtlCol="0" anchor="ctr"/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 marL="228600" indent="-228600" algn="l">
          <a:spcBef>
            <a:spcPts val="600"/>
          </a:spcBef>
          <a:buFont typeface="Arial" panose="020B0604020202020204" pitchFamily="34" charset="0"/>
          <a:buChar char="●"/>
          <a:defRPr sz="1400" dirty="0" err="1" smtClean="0"/>
        </a:defPPr>
      </a:lstStyle>
    </a:txDef>
  </a:objectDefaults>
  <a:extraClrSchemeLst/>
  <a:custClrLst>
    <a:custClr name="Air Blue Dark">
      <a:srgbClr val="334C56"/>
    </a:custClr>
    <a:custClr name="Plant Green Dark">
      <a:srgbClr val="264600"/>
    </a:custClr>
    <a:custClr name="Sun Orange Dark">
      <a:srgbClr val="BA2C00"/>
    </a:custClr>
    <a:custClr name="Energy Pink Dark">
      <a:srgbClr val="6F0055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Air Blue Bright">
      <a:srgbClr val="00E6BE"/>
    </a:custClr>
    <a:custClr name="Plant Green Bright">
      <a:srgbClr val="50E600"/>
    </a:custClr>
    <a:custClr name="Sun Orange Bright">
      <a:srgbClr val="FCE500"/>
    </a:custClr>
    <a:custClr name="Energy Pink Bright">
      <a:srgbClr val="FF006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Syngenta - Tables.pptx" id="{88AD6173-6E7F-40C2-BC1E-3312AF370E73}" vid="{8B597605-CEA1-4557-A4DA-D32FBA96E6C3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Стандартная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7e940dd-7f2d-4370-aec8-7d73f28d9e8a">
      <Terms xmlns="http://schemas.microsoft.com/office/infopath/2007/PartnerControls"/>
    </lcf76f155ced4ddcb4097134ff3c332f>
    <TaxCatchAll xmlns="2b7c1dc2-020a-4df3-a24a-774fa6e7e417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75EC792E6674041B0FCBD83C4239922" ma:contentTypeVersion="16" ma:contentTypeDescription="Create a new document." ma:contentTypeScope="" ma:versionID="5e0760cb49576a4f8c980ce298294753">
  <xsd:schema xmlns:xsd="http://www.w3.org/2001/XMLSchema" xmlns:xs="http://www.w3.org/2001/XMLSchema" xmlns:p="http://schemas.microsoft.com/office/2006/metadata/properties" xmlns:ns2="e7e940dd-7f2d-4370-aec8-7d73f28d9e8a" xmlns:ns3="2b7c1dc2-020a-4df3-a24a-774fa6e7e417" targetNamespace="http://schemas.microsoft.com/office/2006/metadata/properties" ma:root="true" ma:fieldsID="91ef90f7a001b95a503b95dd8c979250" ns2:_="" ns3:_="">
    <xsd:import namespace="e7e940dd-7f2d-4370-aec8-7d73f28d9e8a"/>
    <xsd:import namespace="2b7c1dc2-020a-4df3-a24a-774fa6e7e41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7e940dd-7f2d-4370-aec8-7d73f28d9e8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0" nillable="true" ma:taxonomy="true" ma:internalName="lcf76f155ced4ddcb4097134ff3c332f" ma:taxonomyFieldName="MediaServiceImageTags" ma:displayName="Image Tags" ma:readOnly="false" ma:fieldId="{5cf76f15-5ced-4ddc-b409-7134ff3c332f}" ma:taxonomyMulti="true" ma:sspId="a62b72aa-f2ad-421f-b636-7f0f87e2f2b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b7c1dc2-020a-4df3-a24a-774fa6e7e417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f135acf0-4dc8-46e6-868a-b9e1c48a29af}" ma:internalName="TaxCatchAll" ma:showField="CatchAllData" ma:web="2b7c1dc2-020a-4df3-a24a-774fa6e7e41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E28DE8D-29A6-47CE-A9B5-EF44D48F7E4B}">
  <ds:schemaRefs>
    <ds:schemaRef ds:uri="http://schemas.microsoft.com/office/2006/metadata/properties"/>
    <ds:schemaRef ds:uri="http://schemas.microsoft.com/office/infopath/2007/PartnerControls"/>
    <ds:schemaRef ds:uri="e7e940dd-7f2d-4370-aec8-7d73f28d9e8a"/>
    <ds:schemaRef ds:uri="2b7c1dc2-020a-4df3-a24a-774fa6e7e417"/>
  </ds:schemaRefs>
</ds:datastoreItem>
</file>

<file path=customXml/itemProps2.xml><?xml version="1.0" encoding="utf-8"?>
<ds:datastoreItem xmlns:ds="http://schemas.openxmlformats.org/officeDocument/2006/customXml" ds:itemID="{B2492810-A824-4D5D-9B38-EBA7F2776E2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5C0AF66-1C92-4D64-9023-47156B2DE85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7e940dd-7f2d-4370-aec8-7d73f28d9e8a"/>
    <ds:schemaRef ds:uri="2b7c1dc2-020a-4df3-a24a-774fa6e7e41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674</TotalTime>
  <Words>669</Words>
  <Application>Microsoft Office PowerPoint</Application>
  <PresentationFormat>Широкоэкранный</PresentationFormat>
  <Paragraphs>193</Paragraphs>
  <Slides>13</Slides>
  <Notes>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5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25" baseType="lpstr">
      <vt:lpstr>Akrobat ExtraBold</vt:lpstr>
      <vt:lpstr>Aptos</vt:lpstr>
      <vt:lpstr>Arial</vt:lpstr>
      <vt:lpstr>Courier New</vt:lpstr>
      <vt:lpstr>HelveticaNeueCyr</vt:lpstr>
      <vt:lpstr>Calibri</vt:lpstr>
      <vt:lpstr>MIRAVIS Master Template</vt:lpstr>
      <vt:lpstr>1_Office Theme</vt:lpstr>
      <vt:lpstr>2_Inform</vt:lpstr>
      <vt:lpstr>2007 New Powerpoint_template</vt:lpstr>
      <vt:lpstr>Inform</vt:lpstr>
      <vt:lpstr>Слайд think-cell</vt:lpstr>
      <vt:lpstr>Презентация PowerPoint</vt:lpstr>
      <vt:lpstr>ИНОКУЛЯЦИЯ СОИ</vt:lpstr>
      <vt:lpstr>Презентация PowerPoint</vt:lpstr>
      <vt:lpstr>Первый шаг к белку это…?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narov Aleksei RUBA</dc:creator>
  <cp:lastModifiedBy>Lukyanov Vadim RUNO</cp:lastModifiedBy>
  <cp:revision>44</cp:revision>
  <dcterms:created xsi:type="dcterms:W3CDTF">2021-02-07T10:48:46Z</dcterms:created>
  <dcterms:modified xsi:type="dcterms:W3CDTF">2025-04-03T04:44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75EC792E6674041B0FCBD83C4239922</vt:lpwstr>
  </property>
</Properties>
</file>